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650" r:id="rId2"/>
    <p:sldMasterId id="2147483928" r:id="rId3"/>
    <p:sldMasterId id="2147483940" r:id="rId4"/>
  </p:sldMasterIdLst>
  <p:notesMasterIdLst>
    <p:notesMasterId r:id="rId23"/>
  </p:notesMasterIdLst>
  <p:handoutMasterIdLst>
    <p:handoutMasterId r:id="rId24"/>
  </p:handoutMasterIdLst>
  <p:sldIdLst>
    <p:sldId id="305" r:id="rId5"/>
    <p:sldId id="627" r:id="rId6"/>
    <p:sldId id="629" r:id="rId7"/>
    <p:sldId id="630" r:id="rId8"/>
    <p:sldId id="631" r:id="rId9"/>
    <p:sldId id="632" r:id="rId10"/>
    <p:sldId id="634" r:id="rId11"/>
    <p:sldId id="636" r:id="rId12"/>
    <p:sldId id="637" r:id="rId13"/>
    <p:sldId id="639" r:id="rId14"/>
    <p:sldId id="646" r:id="rId15"/>
    <p:sldId id="640" r:id="rId16"/>
    <p:sldId id="641" r:id="rId17"/>
    <p:sldId id="642" r:id="rId18"/>
    <p:sldId id="643" r:id="rId19"/>
    <p:sldId id="644" r:id="rId20"/>
    <p:sldId id="645" r:id="rId21"/>
    <p:sldId id="633" r:id="rId22"/>
  </p:sldIdLst>
  <p:sldSz cx="9144000" cy="6858000" type="screen4x3"/>
  <p:notesSz cx="7102475" cy="102330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43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928BC3"/>
    <a:srgbClr val="FF6E01"/>
    <a:srgbClr val="F1550F"/>
    <a:srgbClr val="FF9900"/>
    <a:srgbClr val="E79645"/>
    <a:srgbClr val="DF774D"/>
    <a:srgbClr val="CC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484" autoAdjust="0"/>
    <p:restoredTop sz="93719" autoAdjust="0"/>
  </p:normalViewPr>
  <p:slideViewPr>
    <p:cSldViewPr>
      <p:cViewPr varScale="1">
        <p:scale>
          <a:sx n="63" d="100"/>
          <a:sy n="63" d="100"/>
        </p:scale>
        <p:origin x="1276" y="44"/>
      </p:cViewPr>
      <p:guideLst>
        <p:guide orient="horz" pos="2160"/>
        <p:guide pos="43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>
        <p:scale>
          <a:sx n="90" d="100"/>
          <a:sy n="90" d="100"/>
        </p:scale>
        <p:origin x="-1368" y="2040"/>
      </p:cViewPr>
      <p:guideLst>
        <p:guide orient="horz" pos="3223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A8A50EE-0BC7-4E21-99EC-0E043000FE3A}" type="doc">
      <dgm:prSet loTypeId="urn:microsoft.com/office/officeart/2005/8/layout/chevron1" loCatId="process" qsTypeId="urn:microsoft.com/office/officeart/2005/8/quickstyle/simple1" qsCatId="simple" csTypeId="urn:microsoft.com/office/officeart/2005/8/colors/colorful2" csCatId="colorful" phldr="1"/>
      <dgm:spPr/>
    </dgm:pt>
    <dgm:pt modelId="{B7A210F3-49AE-4636-8429-08E8F9374A57}">
      <dgm:prSet phldrT="[Текст]" custT="1"/>
      <dgm:spPr>
        <a:solidFill>
          <a:srgbClr val="009900"/>
        </a:solidFill>
      </dgm:spPr>
      <dgm:t>
        <a:bodyPr/>
        <a:lstStyle/>
        <a:p>
          <a:r>
            <a:rPr lang="ru-RU" sz="18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cs typeface="Arial" pitchFamily="34" charset="0"/>
            </a:rPr>
            <a:t>Осознание</a:t>
          </a:r>
          <a:endParaRPr lang="ru-RU" sz="1800" b="1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pitchFamily="34" charset="0"/>
          </a:endParaRPr>
        </a:p>
      </dgm:t>
    </dgm:pt>
    <dgm:pt modelId="{821FDC8B-DDBE-4679-BDBC-91611DE9BA78}" type="parTrans" cxnId="{878AD471-5A2F-4869-9B2B-6511D2BE33F9}">
      <dgm:prSet/>
      <dgm:spPr/>
      <dgm:t>
        <a:bodyPr/>
        <a:lstStyle/>
        <a:p>
          <a:endParaRPr lang="ru-RU" sz="1800" b="1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CC67E013-4F51-480D-A635-CA3C74E2A70F}" type="sibTrans" cxnId="{878AD471-5A2F-4869-9B2B-6511D2BE33F9}">
      <dgm:prSet/>
      <dgm:spPr/>
      <dgm:t>
        <a:bodyPr/>
        <a:lstStyle/>
        <a:p>
          <a:endParaRPr lang="ru-RU" sz="1800" b="1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2358ACF-A833-4C3E-A7D8-3058F64F1F76}">
      <dgm:prSet phldrT="[Текст]" custT="1"/>
      <dgm:spPr>
        <a:solidFill>
          <a:srgbClr val="92D050"/>
        </a:solidFill>
      </dgm:spPr>
      <dgm:t>
        <a:bodyPr/>
        <a:lstStyle/>
        <a:p>
          <a:r>
            <a:rPr lang="ru-RU" sz="1800" b="1" dirty="0" smtClean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cs typeface="Arial" pitchFamily="34" charset="0"/>
            </a:rPr>
            <a:t>Стабилиза</a:t>
          </a:r>
          <a:br>
            <a:rPr lang="ru-RU" sz="1800" b="1" dirty="0" smtClean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cs typeface="Arial" pitchFamily="34" charset="0"/>
            </a:rPr>
          </a:br>
          <a:r>
            <a:rPr lang="ru-RU" sz="1800" b="1" dirty="0" smtClean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cs typeface="Arial" pitchFamily="34" charset="0"/>
            </a:rPr>
            <a:t>ция</a:t>
          </a:r>
          <a:endParaRPr lang="ru-RU" sz="1800" b="1" dirty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pitchFamily="34" charset="0"/>
          </a:endParaRPr>
        </a:p>
      </dgm:t>
    </dgm:pt>
    <dgm:pt modelId="{710B9B92-E2AC-4B7E-A468-87CFCE4DCFFC}" type="parTrans" cxnId="{30261AEB-E3E7-4A39-A64D-56C76110F68D}">
      <dgm:prSet/>
      <dgm:spPr/>
      <dgm:t>
        <a:bodyPr/>
        <a:lstStyle/>
        <a:p>
          <a:endParaRPr lang="ru-RU" sz="1800" b="1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864646B7-AD81-4F6C-B3FC-11A04996FB42}" type="sibTrans" cxnId="{30261AEB-E3E7-4A39-A64D-56C76110F68D}">
      <dgm:prSet/>
      <dgm:spPr/>
      <dgm:t>
        <a:bodyPr/>
        <a:lstStyle/>
        <a:p>
          <a:endParaRPr lang="ru-RU" sz="1800" b="1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4922668D-7D1F-4DCB-96A7-6B85C9D0DAC8}">
      <dgm:prSet phldrT="[Текст]" custT="1"/>
      <dgm:spPr>
        <a:solidFill>
          <a:srgbClr val="CCFF66"/>
        </a:solidFill>
      </dgm:spPr>
      <dgm:t>
        <a:bodyPr/>
        <a:lstStyle/>
        <a:p>
          <a:r>
            <a:rPr lang="ru-RU" sz="1800" b="1" dirty="0" smtClean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cs typeface="Arial" pitchFamily="34" charset="0"/>
            </a:rPr>
            <a:t>Управляемость</a:t>
          </a:r>
          <a:endParaRPr lang="ru-RU" sz="1800" b="1" dirty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pitchFamily="34" charset="0"/>
          </a:endParaRPr>
        </a:p>
      </dgm:t>
    </dgm:pt>
    <dgm:pt modelId="{F4C7F4BF-4A8A-4BBB-9338-AC95B3D8469C}" type="parTrans" cxnId="{FFDBD296-317F-4A62-86FD-975E1D2949DC}">
      <dgm:prSet/>
      <dgm:spPr/>
      <dgm:t>
        <a:bodyPr/>
        <a:lstStyle/>
        <a:p>
          <a:endParaRPr lang="ru-RU" sz="1800" b="1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7C98EC2-B3DB-4C59-A892-0004E04E4AC5}" type="sibTrans" cxnId="{FFDBD296-317F-4A62-86FD-975E1D2949DC}">
      <dgm:prSet/>
      <dgm:spPr/>
      <dgm:t>
        <a:bodyPr/>
        <a:lstStyle/>
        <a:p>
          <a:endParaRPr lang="ru-RU" sz="1800" b="1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B446F4D-1C59-456D-B765-955A52D6A086}">
      <dgm:prSet phldrT="[Текст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>
        <a:solidFill>
          <a:srgbClr val="003300"/>
        </a:solidFill>
      </dgm:spPr>
      <dgm:t>
        <a:bodyPr/>
        <a:lstStyle/>
        <a:p>
          <a:r>
            <a:rPr lang="ru-RU" sz="1400" b="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cs typeface="Arial" pitchFamily="34" charset="0"/>
            </a:rPr>
            <a:t>Незаинтересованность</a:t>
          </a:r>
          <a:endParaRPr lang="ru-RU" sz="1400" b="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pitchFamily="34" charset="0"/>
          </a:endParaRPr>
        </a:p>
      </dgm:t>
    </dgm:pt>
    <dgm:pt modelId="{27FF344C-3823-43B4-84A8-E123D30BE092}" type="parTrans" cxnId="{009D491A-CD9C-481A-96DC-0BCB5636DC14}">
      <dgm:prSet/>
      <dgm:spPr/>
      <dgm:t>
        <a:bodyPr/>
        <a:lstStyle/>
        <a:p>
          <a:endParaRPr lang="ru-RU" sz="1800" b="1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BC027654-27E3-42A0-85E3-B57C96E9D0A2}" type="sibTrans" cxnId="{009D491A-CD9C-481A-96DC-0BCB5636DC14}">
      <dgm:prSet/>
      <dgm:spPr/>
      <dgm:t>
        <a:bodyPr/>
        <a:lstStyle/>
        <a:p>
          <a:endParaRPr lang="ru-RU" sz="1800" b="1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D20B8D8-F289-4606-8109-48D0D618BDAE}">
      <dgm:prSet custT="1"/>
      <dgm:spPr>
        <a:solidFill>
          <a:srgbClr val="FFFF99"/>
        </a:solidFill>
      </dgm:spPr>
      <dgm:t>
        <a:bodyPr/>
        <a:lstStyle/>
        <a:p>
          <a:r>
            <a:rPr lang="ru-RU" sz="1800" b="1" dirty="0" smtClean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cs typeface="Arial" pitchFamily="34" charset="0"/>
            </a:rPr>
            <a:t>Зрелость</a:t>
          </a:r>
          <a:endParaRPr lang="ru-RU" sz="1800" b="1" dirty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pitchFamily="34" charset="0"/>
          </a:endParaRPr>
        </a:p>
      </dgm:t>
    </dgm:pt>
    <dgm:pt modelId="{76A022F3-3402-4DD2-88FE-B1912F114340}" type="parTrans" cxnId="{6E4FC2BF-CEA0-49E0-8A5F-A52F9F05A191}">
      <dgm:prSet/>
      <dgm:spPr/>
      <dgm:t>
        <a:bodyPr/>
        <a:lstStyle/>
        <a:p>
          <a:endParaRPr lang="ru-RU" sz="1800" b="1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1C83F513-8B77-43A7-954B-5674FB5E24F7}" type="sibTrans" cxnId="{6E4FC2BF-CEA0-49E0-8A5F-A52F9F05A191}">
      <dgm:prSet/>
      <dgm:spPr/>
      <dgm:t>
        <a:bodyPr/>
        <a:lstStyle/>
        <a:p>
          <a:endParaRPr lang="ru-RU" sz="1800" b="1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A6229D84-D4A0-44E3-A46A-AC19EBA3712B}" type="pres">
      <dgm:prSet presAssocID="{FA8A50EE-0BC7-4E21-99EC-0E043000FE3A}" presName="Name0" presStyleCnt="0">
        <dgm:presLayoutVars>
          <dgm:dir/>
          <dgm:animLvl val="lvl"/>
          <dgm:resizeHandles val="exact"/>
        </dgm:presLayoutVars>
      </dgm:prSet>
      <dgm:spPr/>
    </dgm:pt>
    <dgm:pt modelId="{CFB15B56-1EC9-48C1-ADDE-E7630E777030}" type="pres">
      <dgm:prSet presAssocID="{6B446F4D-1C59-456D-B765-955A52D6A086}" presName="parTxOnly" presStyleLbl="node1" presStyleIdx="0" presStyleCnt="5" custScaleX="127035" custScaleY="1054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E191D3A-5DD9-4B22-9CA7-DC2A02A24B2C}" type="pres">
      <dgm:prSet presAssocID="{BC027654-27E3-42A0-85E3-B57C96E9D0A2}" presName="parTxOnlySpace" presStyleCnt="0"/>
      <dgm:spPr/>
    </dgm:pt>
    <dgm:pt modelId="{538842CA-8012-4F36-A656-51DAA3D326D1}" type="pres">
      <dgm:prSet presAssocID="{B7A210F3-49AE-4636-8429-08E8F9374A57}" presName="parTxOnly" presStyleLbl="node1" presStyleIdx="1" presStyleCnt="5" custScaleX="21651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F76014-EABE-45FE-87F1-FD706EB8B4D3}" type="pres">
      <dgm:prSet presAssocID="{CC67E013-4F51-480D-A635-CA3C74E2A70F}" presName="parTxOnlySpace" presStyleCnt="0"/>
      <dgm:spPr/>
    </dgm:pt>
    <dgm:pt modelId="{486D73E9-6224-47B7-A294-A60E6BCC5DB6}" type="pres">
      <dgm:prSet presAssocID="{02358ACF-A833-4C3E-A7D8-3058F64F1F76}" presName="parTxOnly" presStyleLbl="node1" presStyleIdx="2" presStyleCnt="5" custScaleX="16137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A7C92D6-FD8C-49EA-8D31-55097CF2F2B9}" type="pres">
      <dgm:prSet presAssocID="{864646B7-AD81-4F6C-B3FC-11A04996FB42}" presName="parTxOnlySpace" presStyleCnt="0"/>
      <dgm:spPr/>
    </dgm:pt>
    <dgm:pt modelId="{CE49547E-E399-4DF9-835F-DAFE66C40927}" type="pres">
      <dgm:prSet presAssocID="{4922668D-7D1F-4DCB-96A7-6B85C9D0DAC8}" presName="parTxOnly" presStyleLbl="node1" presStyleIdx="3" presStyleCnt="5" custScaleX="14284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910E2E3-6A2E-4300-A4B4-1788BF8D3A86}" type="pres">
      <dgm:prSet presAssocID="{07C98EC2-B3DB-4C59-A892-0004E04E4AC5}" presName="parTxOnlySpace" presStyleCnt="0"/>
      <dgm:spPr/>
    </dgm:pt>
    <dgm:pt modelId="{631D1BDD-6382-4B8B-9C59-18F0A40069A7}" type="pres">
      <dgm:prSet presAssocID="{DD20B8D8-F289-4606-8109-48D0D618BDAE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5C13E52-9B4C-4F22-B687-80BDA03CE251}" type="presOf" srcId="{6B446F4D-1C59-456D-B765-955A52D6A086}" destId="{CFB15B56-1EC9-48C1-ADDE-E7630E777030}" srcOrd="0" destOrd="0" presId="urn:microsoft.com/office/officeart/2005/8/layout/chevron1"/>
    <dgm:cxn modelId="{6E4FC2BF-CEA0-49E0-8A5F-A52F9F05A191}" srcId="{FA8A50EE-0BC7-4E21-99EC-0E043000FE3A}" destId="{DD20B8D8-F289-4606-8109-48D0D618BDAE}" srcOrd="4" destOrd="0" parTransId="{76A022F3-3402-4DD2-88FE-B1912F114340}" sibTransId="{1C83F513-8B77-43A7-954B-5674FB5E24F7}"/>
    <dgm:cxn modelId="{7CB25EB7-4F94-43E4-8C91-12E79489B4B0}" type="presOf" srcId="{DD20B8D8-F289-4606-8109-48D0D618BDAE}" destId="{631D1BDD-6382-4B8B-9C59-18F0A40069A7}" srcOrd="0" destOrd="0" presId="urn:microsoft.com/office/officeart/2005/8/layout/chevron1"/>
    <dgm:cxn modelId="{82A5B398-7477-48CA-AD7D-E53786A1ADA6}" type="presOf" srcId="{4922668D-7D1F-4DCB-96A7-6B85C9D0DAC8}" destId="{CE49547E-E399-4DF9-835F-DAFE66C40927}" srcOrd="0" destOrd="0" presId="urn:microsoft.com/office/officeart/2005/8/layout/chevron1"/>
    <dgm:cxn modelId="{09B4B270-0168-484F-8485-6C83DA846963}" type="presOf" srcId="{02358ACF-A833-4C3E-A7D8-3058F64F1F76}" destId="{486D73E9-6224-47B7-A294-A60E6BCC5DB6}" srcOrd="0" destOrd="0" presId="urn:microsoft.com/office/officeart/2005/8/layout/chevron1"/>
    <dgm:cxn modelId="{878AD471-5A2F-4869-9B2B-6511D2BE33F9}" srcId="{FA8A50EE-0BC7-4E21-99EC-0E043000FE3A}" destId="{B7A210F3-49AE-4636-8429-08E8F9374A57}" srcOrd="1" destOrd="0" parTransId="{821FDC8B-DDBE-4679-BDBC-91611DE9BA78}" sibTransId="{CC67E013-4F51-480D-A635-CA3C74E2A70F}"/>
    <dgm:cxn modelId="{52E4263A-610B-43E6-875F-85B0E9A58AA3}" type="presOf" srcId="{B7A210F3-49AE-4636-8429-08E8F9374A57}" destId="{538842CA-8012-4F36-A656-51DAA3D326D1}" srcOrd="0" destOrd="0" presId="urn:microsoft.com/office/officeart/2005/8/layout/chevron1"/>
    <dgm:cxn modelId="{FFDBD296-317F-4A62-86FD-975E1D2949DC}" srcId="{FA8A50EE-0BC7-4E21-99EC-0E043000FE3A}" destId="{4922668D-7D1F-4DCB-96A7-6B85C9D0DAC8}" srcOrd="3" destOrd="0" parTransId="{F4C7F4BF-4A8A-4BBB-9338-AC95B3D8469C}" sibTransId="{07C98EC2-B3DB-4C59-A892-0004E04E4AC5}"/>
    <dgm:cxn modelId="{009D491A-CD9C-481A-96DC-0BCB5636DC14}" srcId="{FA8A50EE-0BC7-4E21-99EC-0E043000FE3A}" destId="{6B446F4D-1C59-456D-B765-955A52D6A086}" srcOrd="0" destOrd="0" parTransId="{27FF344C-3823-43B4-84A8-E123D30BE092}" sibTransId="{BC027654-27E3-42A0-85E3-B57C96E9D0A2}"/>
    <dgm:cxn modelId="{30261AEB-E3E7-4A39-A64D-56C76110F68D}" srcId="{FA8A50EE-0BC7-4E21-99EC-0E043000FE3A}" destId="{02358ACF-A833-4C3E-A7D8-3058F64F1F76}" srcOrd="2" destOrd="0" parTransId="{710B9B92-E2AC-4B7E-A468-87CFCE4DCFFC}" sibTransId="{864646B7-AD81-4F6C-B3FC-11A04996FB42}"/>
    <dgm:cxn modelId="{BC8404A6-FB9F-4AFE-83C7-73142703CAAA}" type="presOf" srcId="{FA8A50EE-0BC7-4E21-99EC-0E043000FE3A}" destId="{A6229D84-D4A0-44E3-A46A-AC19EBA3712B}" srcOrd="0" destOrd="0" presId="urn:microsoft.com/office/officeart/2005/8/layout/chevron1"/>
    <dgm:cxn modelId="{ECCFA010-8235-464B-A3F3-F303CAAE7A63}" type="presParOf" srcId="{A6229D84-D4A0-44E3-A46A-AC19EBA3712B}" destId="{CFB15B56-1EC9-48C1-ADDE-E7630E777030}" srcOrd="0" destOrd="0" presId="urn:microsoft.com/office/officeart/2005/8/layout/chevron1"/>
    <dgm:cxn modelId="{126140B8-21DB-4550-940F-1A1F44DE7BD4}" type="presParOf" srcId="{A6229D84-D4A0-44E3-A46A-AC19EBA3712B}" destId="{EE191D3A-5DD9-4B22-9CA7-DC2A02A24B2C}" srcOrd="1" destOrd="0" presId="urn:microsoft.com/office/officeart/2005/8/layout/chevron1"/>
    <dgm:cxn modelId="{2648A6EE-ACEC-4613-8BF4-0DF97B18C431}" type="presParOf" srcId="{A6229D84-D4A0-44E3-A46A-AC19EBA3712B}" destId="{538842CA-8012-4F36-A656-51DAA3D326D1}" srcOrd="2" destOrd="0" presId="urn:microsoft.com/office/officeart/2005/8/layout/chevron1"/>
    <dgm:cxn modelId="{678D32EE-4EB7-4E20-9976-599FA1C9EA35}" type="presParOf" srcId="{A6229D84-D4A0-44E3-A46A-AC19EBA3712B}" destId="{ACF76014-EABE-45FE-87F1-FD706EB8B4D3}" srcOrd="3" destOrd="0" presId="urn:microsoft.com/office/officeart/2005/8/layout/chevron1"/>
    <dgm:cxn modelId="{872A2567-A1F1-4DF4-A90B-ABF4D29D17A6}" type="presParOf" srcId="{A6229D84-D4A0-44E3-A46A-AC19EBA3712B}" destId="{486D73E9-6224-47B7-A294-A60E6BCC5DB6}" srcOrd="4" destOrd="0" presId="urn:microsoft.com/office/officeart/2005/8/layout/chevron1"/>
    <dgm:cxn modelId="{E2EFADD2-1108-4FE8-A9FC-67F8089509A1}" type="presParOf" srcId="{A6229D84-D4A0-44E3-A46A-AC19EBA3712B}" destId="{2A7C92D6-FD8C-49EA-8D31-55097CF2F2B9}" srcOrd="5" destOrd="0" presId="urn:microsoft.com/office/officeart/2005/8/layout/chevron1"/>
    <dgm:cxn modelId="{02B9306A-D3F1-433F-AA85-51944DABC8CB}" type="presParOf" srcId="{A6229D84-D4A0-44E3-A46A-AC19EBA3712B}" destId="{CE49547E-E399-4DF9-835F-DAFE66C40927}" srcOrd="6" destOrd="0" presId="urn:microsoft.com/office/officeart/2005/8/layout/chevron1"/>
    <dgm:cxn modelId="{F2F5121F-7EDA-4E7F-8B91-2A62E4B1C613}" type="presParOf" srcId="{A6229D84-D4A0-44E3-A46A-AC19EBA3712B}" destId="{7910E2E3-6A2E-4300-A4B4-1788BF8D3A86}" srcOrd="7" destOrd="0" presId="urn:microsoft.com/office/officeart/2005/8/layout/chevron1"/>
    <dgm:cxn modelId="{8D54B473-28BC-47DE-9F93-AB56D59021D0}" type="presParOf" srcId="{A6229D84-D4A0-44E3-A46A-AC19EBA3712B}" destId="{631D1BDD-6382-4B8B-9C59-18F0A40069A7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A8A50EE-0BC7-4E21-99EC-0E043000FE3A}" type="doc">
      <dgm:prSet loTypeId="urn:microsoft.com/office/officeart/2005/8/layout/chevron1" loCatId="process" qsTypeId="urn:microsoft.com/office/officeart/2005/8/quickstyle/simple1" qsCatId="simple" csTypeId="urn:microsoft.com/office/officeart/2005/8/colors/colorful2" csCatId="colorful" phldr="1"/>
      <dgm:spPr/>
    </dgm:pt>
    <dgm:pt modelId="{B7A210F3-49AE-4636-8429-08E8F9374A57}">
      <dgm:prSet phldrT="[Текст]" custT="1"/>
      <dgm:spPr>
        <a:solidFill>
          <a:srgbClr val="009900"/>
        </a:solidFill>
      </dgm:spPr>
      <dgm:t>
        <a:bodyPr/>
        <a:lstStyle/>
        <a:p>
          <a:r>
            <a:rPr lang="ru-RU" sz="1600" b="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rPr>
            <a:t>Человеческие ресурсы</a:t>
          </a:r>
          <a:endParaRPr lang="ru-RU" sz="1600" b="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</a:endParaRPr>
        </a:p>
      </dgm:t>
    </dgm:pt>
    <dgm:pt modelId="{821FDC8B-DDBE-4679-BDBC-91611DE9BA78}" type="parTrans" cxnId="{878AD471-5A2F-4869-9B2B-6511D2BE33F9}">
      <dgm:prSet/>
      <dgm:spPr/>
      <dgm:t>
        <a:bodyPr/>
        <a:lstStyle/>
        <a:p>
          <a:endParaRPr lang="ru-RU" sz="1600" b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CC67E013-4F51-480D-A635-CA3C74E2A70F}" type="sibTrans" cxnId="{878AD471-5A2F-4869-9B2B-6511D2BE33F9}">
      <dgm:prSet/>
      <dgm:spPr/>
      <dgm:t>
        <a:bodyPr/>
        <a:lstStyle/>
        <a:p>
          <a:endParaRPr lang="ru-RU" sz="1600" b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2358ACF-A833-4C3E-A7D8-3058F64F1F76}">
      <dgm:prSet phldrT="[Текст]" custT="1"/>
      <dgm:spPr>
        <a:solidFill>
          <a:srgbClr val="92D050"/>
        </a:solidFill>
      </dgm:spPr>
      <dgm:t>
        <a:bodyPr/>
        <a:lstStyle/>
        <a:p>
          <a:r>
            <a:rPr lang="ru-RU" sz="1600" b="0" dirty="0" smtClean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rPr>
            <a:t>Вовлеченные сотрудники</a:t>
          </a:r>
          <a:endParaRPr lang="ru-RU" sz="1600" b="0" dirty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</a:endParaRPr>
        </a:p>
      </dgm:t>
    </dgm:pt>
    <dgm:pt modelId="{710B9B92-E2AC-4B7E-A468-87CFCE4DCFFC}" type="parTrans" cxnId="{30261AEB-E3E7-4A39-A64D-56C76110F68D}">
      <dgm:prSet/>
      <dgm:spPr/>
      <dgm:t>
        <a:bodyPr/>
        <a:lstStyle/>
        <a:p>
          <a:endParaRPr lang="ru-RU" sz="1600" b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864646B7-AD81-4F6C-B3FC-11A04996FB42}" type="sibTrans" cxnId="{30261AEB-E3E7-4A39-A64D-56C76110F68D}">
      <dgm:prSet/>
      <dgm:spPr/>
      <dgm:t>
        <a:bodyPr/>
        <a:lstStyle/>
        <a:p>
          <a:endParaRPr lang="ru-RU" sz="1600" b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4922668D-7D1F-4DCB-96A7-6B85C9D0DAC8}">
      <dgm:prSet phldrT="[Текст]" custT="1"/>
      <dgm:spPr>
        <a:solidFill>
          <a:srgbClr val="CCFF66"/>
        </a:solidFill>
      </dgm:spPr>
      <dgm:t>
        <a:bodyPr/>
        <a:lstStyle/>
        <a:p>
          <a:r>
            <a:rPr lang="ru-RU" sz="1400" b="0" dirty="0" smtClean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rPr>
            <a:t>Увлеченные соратники</a:t>
          </a:r>
          <a:endParaRPr lang="ru-RU" sz="1400" b="0" dirty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</a:endParaRPr>
        </a:p>
      </dgm:t>
    </dgm:pt>
    <dgm:pt modelId="{F4C7F4BF-4A8A-4BBB-9338-AC95B3D8469C}" type="parTrans" cxnId="{FFDBD296-317F-4A62-86FD-975E1D2949DC}">
      <dgm:prSet/>
      <dgm:spPr/>
      <dgm:t>
        <a:bodyPr/>
        <a:lstStyle/>
        <a:p>
          <a:endParaRPr lang="ru-RU" sz="1600" b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7C98EC2-B3DB-4C59-A892-0004E04E4AC5}" type="sibTrans" cxnId="{FFDBD296-317F-4A62-86FD-975E1D2949DC}">
      <dgm:prSet/>
      <dgm:spPr/>
      <dgm:t>
        <a:bodyPr/>
        <a:lstStyle/>
        <a:p>
          <a:endParaRPr lang="ru-RU" sz="1600" b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B446F4D-1C59-456D-B765-955A52D6A086}">
      <dgm:prSet phldrT="[Текст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>
        <a:solidFill>
          <a:srgbClr val="003300"/>
        </a:solidFill>
      </dgm:spPr>
      <dgm:t>
        <a:bodyPr/>
        <a:lstStyle/>
        <a:p>
          <a:r>
            <a:rPr lang="ru-RU" sz="1600" b="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rPr>
            <a:t>Работники</a:t>
          </a:r>
          <a:endParaRPr lang="ru-RU" sz="1600" b="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</a:endParaRPr>
        </a:p>
      </dgm:t>
    </dgm:pt>
    <dgm:pt modelId="{27FF344C-3823-43B4-84A8-E123D30BE092}" type="parTrans" cxnId="{009D491A-CD9C-481A-96DC-0BCB5636DC14}">
      <dgm:prSet/>
      <dgm:spPr/>
      <dgm:t>
        <a:bodyPr/>
        <a:lstStyle/>
        <a:p>
          <a:endParaRPr lang="ru-RU" sz="1600" b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BC027654-27E3-42A0-85E3-B57C96E9D0A2}" type="sibTrans" cxnId="{009D491A-CD9C-481A-96DC-0BCB5636DC14}">
      <dgm:prSet/>
      <dgm:spPr/>
      <dgm:t>
        <a:bodyPr/>
        <a:lstStyle/>
        <a:p>
          <a:endParaRPr lang="ru-RU" sz="1600" b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D20B8D8-F289-4606-8109-48D0D618BDAE}">
      <dgm:prSet custT="1"/>
      <dgm:spPr>
        <a:solidFill>
          <a:srgbClr val="FFFF99"/>
        </a:solidFill>
      </dgm:spPr>
      <dgm:t>
        <a:bodyPr/>
        <a:lstStyle/>
        <a:p>
          <a:r>
            <a:rPr lang="ru-RU" sz="1400" b="0" dirty="0" smtClean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rPr>
            <a:t>Талантливые творцы</a:t>
          </a:r>
          <a:endParaRPr lang="ru-RU" sz="1400" b="0" dirty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</a:endParaRPr>
        </a:p>
      </dgm:t>
    </dgm:pt>
    <dgm:pt modelId="{76A022F3-3402-4DD2-88FE-B1912F114340}" type="parTrans" cxnId="{6E4FC2BF-CEA0-49E0-8A5F-A52F9F05A191}">
      <dgm:prSet/>
      <dgm:spPr/>
      <dgm:t>
        <a:bodyPr/>
        <a:lstStyle/>
        <a:p>
          <a:endParaRPr lang="ru-RU" sz="1600" b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1C83F513-8B77-43A7-954B-5674FB5E24F7}" type="sibTrans" cxnId="{6E4FC2BF-CEA0-49E0-8A5F-A52F9F05A191}">
      <dgm:prSet/>
      <dgm:spPr/>
      <dgm:t>
        <a:bodyPr/>
        <a:lstStyle/>
        <a:p>
          <a:endParaRPr lang="ru-RU" sz="1600" b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A6229D84-D4A0-44E3-A46A-AC19EBA3712B}" type="pres">
      <dgm:prSet presAssocID="{FA8A50EE-0BC7-4E21-99EC-0E043000FE3A}" presName="Name0" presStyleCnt="0">
        <dgm:presLayoutVars>
          <dgm:dir/>
          <dgm:animLvl val="lvl"/>
          <dgm:resizeHandles val="exact"/>
        </dgm:presLayoutVars>
      </dgm:prSet>
      <dgm:spPr/>
    </dgm:pt>
    <dgm:pt modelId="{CFB15B56-1EC9-48C1-ADDE-E7630E777030}" type="pres">
      <dgm:prSet presAssocID="{6B446F4D-1C59-456D-B765-955A52D6A086}" presName="parTxOnly" presStyleLbl="node1" presStyleIdx="0" presStyleCnt="5" custScaleX="12701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E191D3A-5DD9-4B22-9CA7-DC2A02A24B2C}" type="pres">
      <dgm:prSet presAssocID="{BC027654-27E3-42A0-85E3-B57C96E9D0A2}" presName="parTxOnlySpace" presStyleCnt="0"/>
      <dgm:spPr/>
    </dgm:pt>
    <dgm:pt modelId="{538842CA-8012-4F36-A656-51DAA3D326D1}" type="pres">
      <dgm:prSet presAssocID="{B7A210F3-49AE-4636-8429-08E8F9374A57}" presName="parTxOnly" presStyleLbl="node1" presStyleIdx="1" presStyleCnt="5" custScaleX="20838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F76014-EABE-45FE-87F1-FD706EB8B4D3}" type="pres">
      <dgm:prSet presAssocID="{CC67E013-4F51-480D-A635-CA3C74E2A70F}" presName="parTxOnlySpace" presStyleCnt="0"/>
      <dgm:spPr/>
    </dgm:pt>
    <dgm:pt modelId="{486D73E9-6224-47B7-A294-A60E6BCC5DB6}" type="pres">
      <dgm:prSet presAssocID="{02358ACF-A833-4C3E-A7D8-3058F64F1F76}" presName="parTxOnly" presStyleLbl="node1" presStyleIdx="2" presStyleCnt="5" custScaleX="18529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A7C92D6-FD8C-49EA-8D31-55097CF2F2B9}" type="pres">
      <dgm:prSet presAssocID="{864646B7-AD81-4F6C-B3FC-11A04996FB42}" presName="parTxOnlySpace" presStyleCnt="0"/>
      <dgm:spPr/>
    </dgm:pt>
    <dgm:pt modelId="{CE49547E-E399-4DF9-835F-DAFE66C40927}" type="pres">
      <dgm:prSet presAssocID="{4922668D-7D1F-4DCB-96A7-6B85C9D0DAC8}" presName="parTxOnly" presStyleLbl="node1" presStyleIdx="3" presStyleCnt="5" custScaleX="124625" custLinFactNeighborX="10016" custLinFactNeighborY="133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910E2E3-6A2E-4300-A4B4-1788BF8D3A86}" type="pres">
      <dgm:prSet presAssocID="{07C98EC2-B3DB-4C59-A892-0004E04E4AC5}" presName="parTxOnlySpace" presStyleCnt="0"/>
      <dgm:spPr/>
    </dgm:pt>
    <dgm:pt modelId="{631D1BDD-6382-4B8B-9C59-18F0A40069A7}" type="pres">
      <dgm:prSet presAssocID="{DD20B8D8-F289-4606-8109-48D0D618BDAE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468511C-8CB3-4C04-BEA8-7C9090F3B155}" type="presOf" srcId="{6B446F4D-1C59-456D-B765-955A52D6A086}" destId="{CFB15B56-1EC9-48C1-ADDE-E7630E777030}" srcOrd="0" destOrd="0" presId="urn:microsoft.com/office/officeart/2005/8/layout/chevron1"/>
    <dgm:cxn modelId="{6E4FC2BF-CEA0-49E0-8A5F-A52F9F05A191}" srcId="{FA8A50EE-0BC7-4E21-99EC-0E043000FE3A}" destId="{DD20B8D8-F289-4606-8109-48D0D618BDAE}" srcOrd="4" destOrd="0" parTransId="{76A022F3-3402-4DD2-88FE-B1912F114340}" sibTransId="{1C83F513-8B77-43A7-954B-5674FB5E24F7}"/>
    <dgm:cxn modelId="{31EFDF1E-9C6D-472C-8464-43BECDA01D00}" type="presOf" srcId="{4922668D-7D1F-4DCB-96A7-6B85C9D0DAC8}" destId="{CE49547E-E399-4DF9-835F-DAFE66C40927}" srcOrd="0" destOrd="0" presId="urn:microsoft.com/office/officeart/2005/8/layout/chevron1"/>
    <dgm:cxn modelId="{878AD471-5A2F-4869-9B2B-6511D2BE33F9}" srcId="{FA8A50EE-0BC7-4E21-99EC-0E043000FE3A}" destId="{B7A210F3-49AE-4636-8429-08E8F9374A57}" srcOrd="1" destOrd="0" parTransId="{821FDC8B-DDBE-4679-BDBC-91611DE9BA78}" sibTransId="{CC67E013-4F51-480D-A635-CA3C74E2A70F}"/>
    <dgm:cxn modelId="{572970B2-0946-4A3D-AC0F-A8F806683C85}" type="presOf" srcId="{B7A210F3-49AE-4636-8429-08E8F9374A57}" destId="{538842CA-8012-4F36-A656-51DAA3D326D1}" srcOrd="0" destOrd="0" presId="urn:microsoft.com/office/officeart/2005/8/layout/chevron1"/>
    <dgm:cxn modelId="{C9E73C0D-2A5B-4615-9C2A-17F8F5DFF05C}" type="presOf" srcId="{DD20B8D8-F289-4606-8109-48D0D618BDAE}" destId="{631D1BDD-6382-4B8B-9C59-18F0A40069A7}" srcOrd="0" destOrd="0" presId="urn:microsoft.com/office/officeart/2005/8/layout/chevron1"/>
    <dgm:cxn modelId="{FFDBD296-317F-4A62-86FD-975E1D2949DC}" srcId="{FA8A50EE-0BC7-4E21-99EC-0E043000FE3A}" destId="{4922668D-7D1F-4DCB-96A7-6B85C9D0DAC8}" srcOrd="3" destOrd="0" parTransId="{F4C7F4BF-4A8A-4BBB-9338-AC95B3D8469C}" sibTransId="{07C98EC2-B3DB-4C59-A892-0004E04E4AC5}"/>
    <dgm:cxn modelId="{6526FB20-8519-4D8B-805B-C9981E7A2E8F}" type="presOf" srcId="{02358ACF-A833-4C3E-A7D8-3058F64F1F76}" destId="{486D73E9-6224-47B7-A294-A60E6BCC5DB6}" srcOrd="0" destOrd="0" presId="urn:microsoft.com/office/officeart/2005/8/layout/chevron1"/>
    <dgm:cxn modelId="{009D491A-CD9C-481A-96DC-0BCB5636DC14}" srcId="{FA8A50EE-0BC7-4E21-99EC-0E043000FE3A}" destId="{6B446F4D-1C59-456D-B765-955A52D6A086}" srcOrd="0" destOrd="0" parTransId="{27FF344C-3823-43B4-84A8-E123D30BE092}" sibTransId="{BC027654-27E3-42A0-85E3-B57C96E9D0A2}"/>
    <dgm:cxn modelId="{30261AEB-E3E7-4A39-A64D-56C76110F68D}" srcId="{FA8A50EE-0BC7-4E21-99EC-0E043000FE3A}" destId="{02358ACF-A833-4C3E-A7D8-3058F64F1F76}" srcOrd="2" destOrd="0" parTransId="{710B9B92-E2AC-4B7E-A468-87CFCE4DCFFC}" sibTransId="{864646B7-AD81-4F6C-B3FC-11A04996FB42}"/>
    <dgm:cxn modelId="{AE87AED2-785F-48E6-8B0E-4F98D980555D}" type="presOf" srcId="{FA8A50EE-0BC7-4E21-99EC-0E043000FE3A}" destId="{A6229D84-D4A0-44E3-A46A-AC19EBA3712B}" srcOrd="0" destOrd="0" presId="urn:microsoft.com/office/officeart/2005/8/layout/chevron1"/>
    <dgm:cxn modelId="{954F115D-92C7-4894-A828-23DEA6A304AE}" type="presParOf" srcId="{A6229D84-D4A0-44E3-A46A-AC19EBA3712B}" destId="{CFB15B56-1EC9-48C1-ADDE-E7630E777030}" srcOrd="0" destOrd="0" presId="urn:microsoft.com/office/officeart/2005/8/layout/chevron1"/>
    <dgm:cxn modelId="{FAC94F86-C016-4934-905B-8C1D045839C0}" type="presParOf" srcId="{A6229D84-D4A0-44E3-A46A-AC19EBA3712B}" destId="{EE191D3A-5DD9-4B22-9CA7-DC2A02A24B2C}" srcOrd="1" destOrd="0" presId="urn:microsoft.com/office/officeart/2005/8/layout/chevron1"/>
    <dgm:cxn modelId="{2629EE41-4F42-4F72-99B2-E7F9910EF5BE}" type="presParOf" srcId="{A6229D84-D4A0-44E3-A46A-AC19EBA3712B}" destId="{538842CA-8012-4F36-A656-51DAA3D326D1}" srcOrd="2" destOrd="0" presId="urn:microsoft.com/office/officeart/2005/8/layout/chevron1"/>
    <dgm:cxn modelId="{1D50F81C-F6D2-429E-9173-C1470593D06E}" type="presParOf" srcId="{A6229D84-D4A0-44E3-A46A-AC19EBA3712B}" destId="{ACF76014-EABE-45FE-87F1-FD706EB8B4D3}" srcOrd="3" destOrd="0" presId="urn:microsoft.com/office/officeart/2005/8/layout/chevron1"/>
    <dgm:cxn modelId="{00F34E32-1D32-4126-8E54-EC5C15031052}" type="presParOf" srcId="{A6229D84-D4A0-44E3-A46A-AC19EBA3712B}" destId="{486D73E9-6224-47B7-A294-A60E6BCC5DB6}" srcOrd="4" destOrd="0" presId="urn:microsoft.com/office/officeart/2005/8/layout/chevron1"/>
    <dgm:cxn modelId="{CA8AE563-69D6-4810-8FA4-A015B9DCA1AC}" type="presParOf" srcId="{A6229D84-D4A0-44E3-A46A-AC19EBA3712B}" destId="{2A7C92D6-FD8C-49EA-8D31-55097CF2F2B9}" srcOrd="5" destOrd="0" presId="urn:microsoft.com/office/officeart/2005/8/layout/chevron1"/>
    <dgm:cxn modelId="{C78546FC-9EF0-4963-BC32-B6C6BC4B1644}" type="presParOf" srcId="{A6229D84-D4A0-44E3-A46A-AC19EBA3712B}" destId="{CE49547E-E399-4DF9-835F-DAFE66C40927}" srcOrd="6" destOrd="0" presId="urn:microsoft.com/office/officeart/2005/8/layout/chevron1"/>
    <dgm:cxn modelId="{24010A41-68C9-4360-8AD3-D125455526F0}" type="presParOf" srcId="{A6229D84-D4A0-44E3-A46A-AC19EBA3712B}" destId="{7910E2E3-6A2E-4300-A4B4-1788BF8D3A86}" srcOrd="7" destOrd="0" presId="urn:microsoft.com/office/officeart/2005/8/layout/chevron1"/>
    <dgm:cxn modelId="{BE2A5939-3E90-4A75-8E09-CFE1463515C0}" type="presParOf" srcId="{A6229D84-D4A0-44E3-A46A-AC19EBA3712B}" destId="{631D1BDD-6382-4B8B-9C59-18F0A40069A7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B15B56-1EC9-48C1-ADDE-E7630E777030}">
      <dsp:nvSpPr>
        <dsp:cNvPr id="0" name=""/>
        <dsp:cNvSpPr/>
      </dsp:nvSpPr>
      <dsp:spPr>
        <a:xfrm>
          <a:off x="5713" y="232026"/>
          <a:ext cx="1639183" cy="544058"/>
        </a:xfrm>
        <a:prstGeom prst="chevron">
          <a:avLst/>
        </a:prstGeom>
        <a:solidFill>
          <a:srgbClr val="003300"/>
        </a:soli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0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cs typeface="Arial" pitchFamily="34" charset="0"/>
            </a:rPr>
            <a:t>Незаинтересованность</a:t>
          </a:r>
          <a:endParaRPr lang="ru-RU" sz="1400" b="0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pitchFamily="34" charset="0"/>
          </a:endParaRPr>
        </a:p>
      </dsp:txBody>
      <dsp:txXfrm>
        <a:off x="277742" y="232026"/>
        <a:ext cx="1095125" cy="544058"/>
      </dsp:txXfrm>
    </dsp:sp>
    <dsp:sp modelId="{538842CA-8012-4F36-A656-51DAA3D326D1}">
      <dsp:nvSpPr>
        <dsp:cNvPr id="0" name=""/>
        <dsp:cNvSpPr/>
      </dsp:nvSpPr>
      <dsp:spPr>
        <a:xfrm>
          <a:off x="1515862" y="245988"/>
          <a:ext cx="2793753" cy="516135"/>
        </a:xfrm>
        <a:prstGeom prst="chevron">
          <a:avLst/>
        </a:prstGeom>
        <a:solidFill>
          <a:srgbClr val="0099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cs typeface="Arial" pitchFamily="34" charset="0"/>
            </a:rPr>
            <a:t>Осознание</a:t>
          </a:r>
          <a:endParaRPr lang="ru-RU" sz="1800" b="1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pitchFamily="34" charset="0"/>
          </a:endParaRPr>
        </a:p>
      </dsp:txBody>
      <dsp:txXfrm>
        <a:off x="1773930" y="245988"/>
        <a:ext cx="2277618" cy="516135"/>
      </dsp:txXfrm>
    </dsp:sp>
    <dsp:sp modelId="{486D73E9-6224-47B7-A294-A60E6BCC5DB6}">
      <dsp:nvSpPr>
        <dsp:cNvPr id="0" name=""/>
        <dsp:cNvSpPr/>
      </dsp:nvSpPr>
      <dsp:spPr>
        <a:xfrm>
          <a:off x="4180581" y="245988"/>
          <a:ext cx="2082298" cy="516135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cs typeface="Arial" pitchFamily="34" charset="0"/>
            </a:rPr>
            <a:t>Стабилиза</a:t>
          </a:r>
          <a:br>
            <a:rPr lang="ru-RU" sz="1800" b="1" kern="1200" dirty="0" smtClean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cs typeface="Arial" pitchFamily="34" charset="0"/>
            </a:rPr>
          </a:br>
          <a:r>
            <a:rPr lang="ru-RU" sz="1800" b="1" kern="1200" dirty="0" smtClean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cs typeface="Arial" pitchFamily="34" charset="0"/>
            </a:rPr>
            <a:t>ция</a:t>
          </a:r>
          <a:endParaRPr lang="ru-RU" sz="1800" b="1" kern="1200" dirty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pitchFamily="34" charset="0"/>
          </a:endParaRPr>
        </a:p>
      </dsp:txBody>
      <dsp:txXfrm>
        <a:off x="4438649" y="245988"/>
        <a:ext cx="1566163" cy="516135"/>
      </dsp:txXfrm>
    </dsp:sp>
    <dsp:sp modelId="{CE49547E-E399-4DF9-835F-DAFE66C40927}">
      <dsp:nvSpPr>
        <dsp:cNvPr id="0" name=""/>
        <dsp:cNvSpPr/>
      </dsp:nvSpPr>
      <dsp:spPr>
        <a:xfrm>
          <a:off x="6133846" y="245988"/>
          <a:ext cx="1843134" cy="516135"/>
        </a:xfrm>
        <a:prstGeom prst="chevron">
          <a:avLst/>
        </a:prstGeom>
        <a:solidFill>
          <a:srgbClr val="CCFF6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cs typeface="Arial" pitchFamily="34" charset="0"/>
            </a:rPr>
            <a:t>Управляемость</a:t>
          </a:r>
          <a:endParaRPr lang="ru-RU" sz="1800" b="1" kern="1200" dirty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pitchFamily="34" charset="0"/>
          </a:endParaRPr>
        </a:p>
      </dsp:txBody>
      <dsp:txXfrm>
        <a:off x="6391914" y="245988"/>
        <a:ext cx="1326999" cy="516135"/>
      </dsp:txXfrm>
    </dsp:sp>
    <dsp:sp modelId="{631D1BDD-6382-4B8B-9C59-18F0A40069A7}">
      <dsp:nvSpPr>
        <dsp:cNvPr id="0" name=""/>
        <dsp:cNvSpPr/>
      </dsp:nvSpPr>
      <dsp:spPr>
        <a:xfrm>
          <a:off x="7847947" y="245988"/>
          <a:ext cx="1290339" cy="516135"/>
        </a:xfrm>
        <a:prstGeom prst="chevron">
          <a:avLst/>
        </a:prstGeom>
        <a:solidFill>
          <a:srgbClr val="FFFF9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cs typeface="Arial" pitchFamily="34" charset="0"/>
            </a:rPr>
            <a:t>Зрелость</a:t>
          </a:r>
          <a:endParaRPr lang="ru-RU" sz="1800" b="1" kern="1200" dirty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  <a:cs typeface="Arial" pitchFamily="34" charset="0"/>
          </a:endParaRPr>
        </a:p>
      </dsp:txBody>
      <dsp:txXfrm>
        <a:off x="8106015" y="245988"/>
        <a:ext cx="774204" cy="51613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B15B56-1EC9-48C1-ADDE-E7630E777030}">
      <dsp:nvSpPr>
        <dsp:cNvPr id="0" name=""/>
        <dsp:cNvSpPr/>
      </dsp:nvSpPr>
      <dsp:spPr>
        <a:xfrm>
          <a:off x="5793" y="353107"/>
          <a:ext cx="1644583" cy="517921"/>
        </a:xfrm>
        <a:prstGeom prst="chevron">
          <a:avLst/>
        </a:prstGeom>
        <a:solidFill>
          <a:srgbClr val="003300"/>
        </a:soli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rPr>
            <a:t>Работники</a:t>
          </a:r>
          <a:endParaRPr lang="ru-RU" sz="1600" b="0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</a:endParaRPr>
        </a:p>
      </dsp:txBody>
      <dsp:txXfrm>
        <a:off x="264754" y="353107"/>
        <a:ext cx="1126662" cy="517921"/>
      </dsp:txXfrm>
    </dsp:sp>
    <dsp:sp modelId="{538842CA-8012-4F36-A656-51DAA3D326D1}">
      <dsp:nvSpPr>
        <dsp:cNvPr id="0" name=""/>
        <dsp:cNvSpPr/>
      </dsp:nvSpPr>
      <dsp:spPr>
        <a:xfrm>
          <a:off x="1520896" y="353107"/>
          <a:ext cx="2698126" cy="517921"/>
        </a:xfrm>
        <a:prstGeom prst="chevron">
          <a:avLst/>
        </a:prstGeom>
        <a:solidFill>
          <a:srgbClr val="0099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rPr>
            <a:t>Человеческие ресурсы</a:t>
          </a:r>
          <a:endParaRPr lang="ru-RU" sz="1600" b="0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</a:endParaRPr>
        </a:p>
      </dsp:txBody>
      <dsp:txXfrm>
        <a:off x="1779857" y="353107"/>
        <a:ext cx="2180205" cy="517921"/>
      </dsp:txXfrm>
    </dsp:sp>
    <dsp:sp modelId="{486D73E9-6224-47B7-A294-A60E6BCC5DB6}">
      <dsp:nvSpPr>
        <dsp:cNvPr id="0" name=""/>
        <dsp:cNvSpPr/>
      </dsp:nvSpPr>
      <dsp:spPr>
        <a:xfrm>
          <a:off x="4089542" y="353107"/>
          <a:ext cx="2399169" cy="517921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rPr>
            <a:t>Вовлеченные сотрудники</a:t>
          </a:r>
          <a:endParaRPr lang="ru-RU" sz="1600" b="0" kern="1200" dirty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</a:endParaRPr>
        </a:p>
      </dsp:txBody>
      <dsp:txXfrm>
        <a:off x="4348503" y="353107"/>
        <a:ext cx="1881248" cy="517921"/>
      </dsp:txXfrm>
    </dsp:sp>
    <dsp:sp modelId="{CE49547E-E399-4DF9-835F-DAFE66C40927}">
      <dsp:nvSpPr>
        <dsp:cNvPr id="0" name=""/>
        <dsp:cNvSpPr/>
      </dsp:nvSpPr>
      <dsp:spPr>
        <a:xfrm>
          <a:off x="6372200" y="360042"/>
          <a:ext cx="1613650" cy="517921"/>
        </a:xfrm>
        <a:prstGeom prst="chevron">
          <a:avLst/>
        </a:prstGeom>
        <a:solidFill>
          <a:srgbClr val="CCFF6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0" kern="1200" dirty="0" smtClean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rPr>
            <a:t>Увлеченные соратники</a:t>
          </a:r>
          <a:endParaRPr lang="ru-RU" sz="1400" b="0" kern="1200" dirty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</a:endParaRPr>
        </a:p>
      </dsp:txBody>
      <dsp:txXfrm>
        <a:off x="6631161" y="360042"/>
        <a:ext cx="1095729" cy="517921"/>
      </dsp:txXfrm>
    </dsp:sp>
    <dsp:sp modelId="{631D1BDD-6382-4B8B-9C59-18F0A40069A7}">
      <dsp:nvSpPr>
        <dsp:cNvPr id="0" name=""/>
        <dsp:cNvSpPr/>
      </dsp:nvSpPr>
      <dsp:spPr>
        <a:xfrm>
          <a:off x="7843401" y="353107"/>
          <a:ext cx="1294804" cy="517921"/>
        </a:xfrm>
        <a:prstGeom prst="chevron">
          <a:avLst/>
        </a:prstGeom>
        <a:solidFill>
          <a:srgbClr val="FFFF9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0" kern="1200" dirty="0" smtClean="0">
              <a:solidFill>
                <a:schemeClr val="bg2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rPr>
            <a:t>Талантливые творцы</a:t>
          </a:r>
          <a:endParaRPr lang="ru-RU" sz="1400" b="0" kern="1200" dirty="0">
            <a:solidFill>
              <a:schemeClr val="bg2">
                <a:lumMod val="2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 Narrow" pitchFamily="34" charset="0"/>
          </a:endParaRPr>
        </a:p>
      </dsp:txBody>
      <dsp:txXfrm>
        <a:off x="8102362" y="353107"/>
        <a:ext cx="776883" cy="5179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3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368300"/>
            <a:ext cx="7102475" cy="31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57" tIns="49528" rIns="99057" bIns="49528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100" i="1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ru-RU"/>
              <a:t>Картирование потока создания ценности. Станислав Колташов.</a:t>
            </a:r>
          </a:p>
          <a:p>
            <a:pPr>
              <a:defRPr/>
            </a:pPr>
            <a:endParaRPr lang="ru-RU"/>
          </a:p>
          <a:p>
            <a:pPr>
              <a:defRPr/>
            </a:pPr>
            <a:endParaRPr lang="ru-RU"/>
          </a:p>
        </p:txBody>
      </p:sp>
      <p:sp>
        <p:nvSpPr>
          <p:cNvPr id="2293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184275" y="9545638"/>
            <a:ext cx="1627188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57" tIns="49528" rIns="99057" bIns="49528" numCol="1" anchor="b" anchorCtr="0" compatLnSpc="1">
            <a:prstTxWarp prst="textNoShape">
              <a:avLst/>
            </a:prstTxWarp>
          </a:bodyPr>
          <a:lstStyle>
            <a:lvl1pPr algn="ctr" eaLnBrk="0" hangingPunct="0">
              <a:defRPr sz="1000" i="1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ru-RU"/>
              <a:t>© Оргпром, 2011</a:t>
            </a:r>
          </a:p>
        </p:txBody>
      </p:sp>
      <p:sp>
        <p:nvSpPr>
          <p:cNvPr id="2293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106738" y="9545638"/>
            <a:ext cx="889000" cy="271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57" tIns="49528" rIns="99057" bIns="49528" numCol="1" anchor="b" anchorCtr="0" compatLnSpc="1">
            <a:prstTxWarp prst="textNoShape">
              <a:avLst/>
            </a:prstTxWarp>
          </a:bodyPr>
          <a:lstStyle>
            <a:lvl1pPr algn="ctr" eaLnBrk="0" hangingPunct="0"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0B81A6D-D335-44EB-93AE-9B4537025F4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42965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8163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57" tIns="49528" rIns="99057" bIns="49528" numCol="1" anchor="t" anchorCtr="0" compatLnSpc="1">
            <a:prstTxWarp prst="textNoShape">
              <a:avLst/>
            </a:prstTxWarp>
          </a:bodyPr>
          <a:lstStyle>
            <a:lvl1pPr>
              <a:defRPr sz="13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113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725" y="0"/>
            <a:ext cx="3078163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57" tIns="49528" rIns="99057" bIns="49528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242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6763"/>
            <a:ext cx="5118100" cy="383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11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3250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57" tIns="49528" rIns="99057" bIns="4952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911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263"/>
            <a:ext cx="3078163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57" tIns="49528" rIns="99057" bIns="49528" numCol="1" anchor="b" anchorCtr="0" compatLnSpc="1">
            <a:prstTxWarp prst="textNoShape">
              <a:avLst/>
            </a:prstTxWarp>
          </a:bodyPr>
          <a:lstStyle>
            <a:lvl1pPr>
              <a:defRPr sz="13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11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725" y="9720263"/>
            <a:ext cx="3078163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57" tIns="49528" rIns="99057" bIns="49528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0E06A022-180D-4792-A6EB-413E108AA6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50100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B48E80-E228-4FED-980E-38B92D2B5E0C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893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8B63C5-8C34-42EC-9F79-13C9736BF88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D77F5-8B67-4917-A9F8-526137C0B12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0"/>
            <a:ext cx="2286000" cy="63817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705600" cy="63817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E0661D-2CC4-4D33-93D8-6B21CCCF9BE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215313" y="6429375"/>
            <a:ext cx="827087" cy="3333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E7DF6E-C1D6-4386-AB0C-04FE39DE6C6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advClick="0" advTm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215313" y="6429375"/>
            <a:ext cx="827087" cy="3333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4A9A97-940C-4CF7-B3B7-11428D316FE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advClick="0" advTm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286750" y="6429375"/>
            <a:ext cx="827088" cy="3333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785285-2D30-4453-A83F-049B6AF2D9D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advClick="0" advTm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44488" y="1052513"/>
            <a:ext cx="4233862" cy="53292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30750" y="1052513"/>
            <a:ext cx="4233863" cy="53292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286750" y="6429375"/>
            <a:ext cx="827088" cy="3333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3738A3-C4E1-4387-BFB5-8DF6107969C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advClick="0" advTm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286750" y="6429375"/>
            <a:ext cx="827088" cy="3333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FEEA37-8765-468F-B18C-81D9BAF16D3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advClick="0" advTm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245475" y="6429375"/>
            <a:ext cx="827088" cy="3333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C35967-32DB-4D16-80CE-C669DC69CEC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advClick="0" advTm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286750" y="6429375"/>
            <a:ext cx="827088" cy="3333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F02014-D7A9-4F7D-90D2-07664DAB14A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215313" y="6429375"/>
            <a:ext cx="827087" cy="3333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225CA5-A90D-4C72-8558-7214F59C965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advClick="0" advTm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A0DCDB-615D-49F0-BF08-E2E4242CB72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286750" y="6429375"/>
            <a:ext cx="827088" cy="3333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A21514-B541-4F57-81EB-A622CED4928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215313" y="6429375"/>
            <a:ext cx="827087" cy="3333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592C3F-65DC-4C20-8EFF-720694E8AC8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advClick="0" advTm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0"/>
            <a:ext cx="2286000" cy="63817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705600" cy="63817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215313" y="6429375"/>
            <a:ext cx="827087" cy="3333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4B46DB-995C-4CCF-8050-2C33BD2134A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advClick="0" advTm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0" y="0"/>
            <a:ext cx="9144000" cy="6381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286750" y="6429375"/>
            <a:ext cx="827088" cy="3333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CEA315-50AE-4259-AAEC-C76DBD805A1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advClick="0" advTm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8107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344488" y="1052513"/>
            <a:ext cx="8620125" cy="5329237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316913" y="6524625"/>
            <a:ext cx="827087" cy="3333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DD4059-DFCA-45B1-B76B-1B86D19C29E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advClick="0" advTm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8107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344488" y="1052513"/>
            <a:ext cx="8620125" cy="5329237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286750" y="6429375"/>
            <a:ext cx="827088" cy="3333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5FD053-33D3-48C9-967D-023E92DE64E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advClick="0" advTm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8107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44488" y="1052513"/>
            <a:ext cx="4233862" cy="53292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730750" y="1052513"/>
            <a:ext cx="4233863" cy="25876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730750" y="3792538"/>
            <a:ext cx="4233863" cy="2589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08C1DA-98D0-44BD-9383-09908F98F65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advClick="0" advTm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57249-E66F-4B42-A074-F70F3F453DD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6994860"/>
      </p:ext>
    </p:extLst>
  </p:cSld>
  <p:clrMapOvr>
    <a:masterClrMapping/>
  </p:clrMapOvr>
  <p:transition advClick="0" advTm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1447800"/>
            <a:ext cx="9144000" cy="533400"/>
          </a:xfrm>
        </p:spPr>
        <p:txBody>
          <a:bodyPr/>
          <a:lstStyle>
            <a:lvl1pPr>
              <a:defRPr sz="3600"/>
            </a:lvl1pPr>
          </a:lstStyle>
          <a:p>
            <a:pPr lvl="0"/>
            <a:r>
              <a:rPr lang="ru-RU" altLang="ru-RU" noProof="0" smtClean="0"/>
              <a:t>Образец заголовка</a:t>
            </a:r>
            <a:endParaRPr lang="en-US" altLang="ru-RU" noProof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0" y="1981200"/>
            <a:ext cx="9144000" cy="304800"/>
          </a:xfrm>
        </p:spPr>
        <p:txBody>
          <a:bodyPr/>
          <a:lstStyle>
            <a:lvl1pPr marL="0" indent="0">
              <a:buFontTx/>
              <a:buNone/>
              <a:defRPr sz="1500">
                <a:solidFill>
                  <a:schemeClr val="bg1"/>
                </a:solidFill>
                <a:latin typeface="Eras Bold ITC" panose="020B0907030504020204" pitchFamily="34" charset="0"/>
              </a:defRPr>
            </a:lvl1pPr>
          </a:lstStyle>
          <a:p>
            <a:pPr lvl="0"/>
            <a:r>
              <a:rPr lang="ru-RU" altLang="ru-RU" noProof="0" smtClean="0"/>
              <a:t>Образец подзаголовка</a:t>
            </a:r>
            <a:endParaRPr lang="en-US" altLang="ru-RU" noProof="0" smtClean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7B3D9ADA-7597-4964-B9BA-EC2AF6787EDD}" type="slidenum">
              <a:rPr lang="en-US" altLang="ru-RU">
                <a:solidFill>
                  <a:srgbClr val="FFFFFF"/>
                </a:solidFill>
              </a:rPr>
              <a:pPr/>
              <a:t>‹#›</a:t>
            </a:fld>
            <a:endParaRPr lang="en-US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432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835F8F4-9A3A-459B-9CB6-E3F8E30F345C}" type="slidenum">
              <a:rPr lang="en-US" altLang="ru-RU">
                <a:solidFill>
                  <a:srgbClr val="FFFFFF"/>
                </a:solidFill>
              </a:rPr>
              <a:pPr/>
              <a:t>‹#›</a:t>
            </a:fld>
            <a:endParaRPr lang="en-US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93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53D1CC-1849-41C2-A8E3-3F636F28275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5"/>
            <a:ext cx="7886700" cy="1500187"/>
          </a:xfrm>
        </p:spPr>
        <p:txBody>
          <a:bodyPr/>
          <a:lstStyle>
            <a:lvl1pPr marL="0" indent="0">
              <a:buNone/>
              <a:defRPr sz="1800"/>
            </a:lvl1pPr>
            <a:lvl2pPr marL="342900" indent="0">
              <a:buNone/>
              <a:defRPr sz="1500"/>
            </a:lvl2pPr>
            <a:lvl3pPr marL="685800" indent="0">
              <a:buNone/>
              <a:defRPr sz="13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FBB61F-D398-4739-A9B1-07D629488D05}" type="slidenum">
              <a:rPr lang="en-US" altLang="ru-RU">
                <a:solidFill>
                  <a:srgbClr val="FFFFFF"/>
                </a:solidFill>
              </a:rPr>
              <a:pPr/>
              <a:t>‹#›</a:t>
            </a:fld>
            <a:endParaRPr lang="en-US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103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66800" y="685800"/>
            <a:ext cx="3962400" cy="5867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81600" y="685800"/>
            <a:ext cx="3962400" cy="5867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731463A-4ED9-45BA-A614-84CD139EA1B7}" type="slidenum">
              <a:rPr lang="en-US" altLang="ru-RU">
                <a:solidFill>
                  <a:srgbClr val="FFFFFF"/>
                </a:solidFill>
              </a:rPr>
              <a:pPr/>
              <a:t>‹#›</a:t>
            </a:fld>
            <a:endParaRPr lang="en-US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392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7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9" y="1681163"/>
            <a:ext cx="386873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9" y="2505075"/>
            <a:ext cx="386873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E48B79E-1465-4619-9F86-5C301965F4C5}" type="slidenum">
              <a:rPr lang="en-US" altLang="ru-RU">
                <a:solidFill>
                  <a:srgbClr val="FFFFFF"/>
                </a:solidFill>
              </a:rPr>
              <a:pPr/>
              <a:t>‹#›</a:t>
            </a:fld>
            <a:endParaRPr lang="en-US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890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359F4B5-38B2-4DED-9197-A9A82569B9A8}" type="slidenum">
              <a:rPr lang="en-US" altLang="ru-RU">
                <a:solidFill>
                  <a:srgbClr val="FFFFFF"/>
                </a:solidFill>
              </a:rPr>
              <a:pPr/>
              <a:t>‹#›</a:t>
            </a:fld>
            <a:endParaRPr lang="en-US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67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6F43BD3-C428-41FA-9C99-65CBECE11392}" type="slidenum">
              <a:rPr lang="en-US" altLang="ru-RU">
                <a:solidFill>
                  <a:srgbClr val="FFFFFF"/>
                </a:solidFill>
              </a:rPr>
              <a:pPr/>
              <a:t>‹#›</a:t>
            </a:fld>
            <a:endParaRPr lang="en-US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0744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9" y="457200"/>
            <a:ext cx="2949575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7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9" y="2057400"/>
            <a:ext cx="2949575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B2A05CB-1B7A-4F8C-BEE2-72F337BA8079}" type="slidenum">
              <a:rPr lang="en-US" altLang="ru-RU">
                <a:solidFill>
                  <a:srgbClr val="FFFFFF"/>
                </a:solidFill>
              </a:rPr>
              <a:pPr/>
              <a:t>‹#›</a:t>
            </a:fld>
            <a:endParaRPr lang="en-US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901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9" y="457200"/>
            <a:ext cx="2949575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7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9" y="2057400"/>
            <a:ext cx="2949575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E33D406-F629-45B0-93D4-17302A7EC362}" type="slidenum">
              <a:rPr lang="en-US" altLang="ru-RU">
                <a:solidFill>
                  <a:srgbClr val="FFFFFF"/>
                </a:solidFill>
              </a:rPr>
              <a:pPr/>
              <a:t>‹#›</a:t>
            </a:fld>
            <a:endParaRPr lang="en-US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111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808AFF0-B01C-432D-8F83-380F5191303E}" type="slidenum">
              <a:rPr lang="en-US" altLang="ru-RU">
                <a:solidFill>
                  <a:srgbClr val="FFFFFF"/>
                </a:solidFill>
              </a:rPr>
              <a:pPr/>
              <a:t>‹#›</a:t>
            </a:fld>
            <a:endParaRPr lang="en-US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543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0"/>
            <a:ext cx="2286000" cy="65532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705600" cy="65532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FFFFFF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DE7724-0BFA-4CC4-A5D9-15490F8730F9}" type="slidenum">
              <a:rPr lang="en-US" altLang="ru-RU">
                <a:solidFill>
                  <a:srgbClr val="FFFFFF"/>
                </a:solidFill>
              </a:rPr>
              <a:pPr/>
              <a:t>‹#›</a:t>
            </a:fld>
            <a:endParaRPr lang="en-US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382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7" name="Rectangle 15"/>
          <p:cNvSpPr>
            <a:spLocks noChangeArrowheads="1"/>
          </p:cNvSpPr>
          <p:nvPr/>
        </p:nvSpPr>
        <p:spPr bwMode="gray">
          <a:xfrm>
            <a:off x="7172325" y="1062038"/>
            <a:ext cx="1971675" cy="5795962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086" name="Rectangle 14"/>
          <p:cNvSpPr>
            <a:spLocks noChangeArrowheads="1"/>
          </p:cNvSpPr>
          <p:nvPr/>
        </p:nvSpPr>
        <p:spPr bwMode="gray">
          <a:xfrm>
            <a:off x="7172325" y="1028700"/>
            <a:ext cx="1971675" cy="58293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088" name="Rectangle 16"/>
          <p:cNvSpPr>
            <a:spLocks noChangeArrowheads="1"/>
          </p:cNvSpPr>
          <p:nvPr/>
        </p:nvSpPr>
        <p:spPr bwMode="gray">
          <a:xfrm>
            <a:off x="0" y="0"/>
            <a:ext cx="7142163" cy="573405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089" name="Rectangle 17"/>
          <p:cNvSpPr>
            <a:spLocks noChangeArrowheads="1"/>
          </p:cNvSpPr>
          <p:nvPr/>
        </p:nvSpPr>
        <p:spPr bwMode="gray">
          <a:xfrm>
            <a:off x="0" y="5676900"/>
            <a:ext cx="7142163" cy="1182688"/>
          </a:xfrm>
          <a:prstGeom prst="rect">
            <a:avLst/>
          </a:prstGeom>
          <a:solidFill>
            <a:srgbClr val="D3D3D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090" name="Rectangle 18"/>
          <p:cNvSpPr>
            <a:spLocks noChangeArrowheads="1"/>
          </p:cNvSpPr>
          <p:nvPr/>
        </p:nvSpPr>
        <p:spPr bwMode="gray">
          <a:xfrm>
            <a:off x="7172325" y="0"/>
            <a:ext cx="1971675" cy="990600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  <a:latin typeface="Arial"/>
              <a:cs typeface="+mn-cs"/>
            </a:endParaRPr>
          </a:p>
        </p:txBody>
      </p:sp>
      <p:pic>
        <p:nvPicPr>
          <p:cNvPr id="3091" name="Picture 19" descr="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676775" y="1323975"/>
            <a:ext cx="2465388" cy="338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92" name="Rectangle 20"/>
          <p:cNvSpPr>
            <a:spLocks noChangeArrowheads="1"/>
          </p:cNvSpPr>
          <p:nvPr/>
        </p:nvSpPr>
        <p:spPr bwMode="gray">
          <a:xfrm>
            <a:off x="1571625" y="4721225"/>
            <a:ext cx="7572375" cy="16033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981200" y="4800600"/>
            <a:ext cx="7096125" cy="990600"/>
          </a:xfrm>
        </p:spPr>
        <p:txBody>
          <a:bodyPr/>
          <a:lstStyle>
            <a:lvl1pPr algn="l">
              <a:defRPr sz="4900"/>
            </a:lvl1pPr>
          </a:lstStyle>
          <a:p>
            <a:pPr lvl="0"/>
            <a:r>
              <a:rPr lang="ru-RU" altLang="ru-RU" noProof="0" smtClean="0"/>
              <a:t>Образец заголовка</a:t>
            </a:r>
            <a:endParaRPr lang="en-US" altLang="ru-RU" noProof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711575" y="5943600"/>
            <a:ext cx="4038600" cy="457200"/>
          </a:xfrm>
        </p:spPr>
        <p:txBody>
          <a:bodyPr/>
          <a:lstStyle>
            <a:lvl1pPr marL="0" indent="0">
              <a:buFontTx/>
              <a:buNone/>
              <a:defRPr sz="1800">
                <a:latin typeface="Times New Roman" panose="02020603050405020304" pitchFamily="18" charset="0"/>
              </a:defRPr>
            </a:lvl1pPr>
          </a:lstStyle>
          <a:p>
            <a:pPr lvl="0"/>
            <a:r>
              <a:rPr lang="ru-RU" altLang="ru-RU" noProof="0" smtClean="0"/>
              <a:t>Образец подзаголовка</a:t>
            </a:r>
            <a:endParaRPr lang="en-US" altLang="ru-RU" noProof="0" smtClean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57200" y="6553200"/>
            <a:ext cx="2133600" cy="168275"/>
          </a:xfrm>
        </p:spPr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124200" y="6553200"/>
            <a:ext cx="2895600" cy="168275"/>
          </a:xfrm>
        </p:spPr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6553200" y="6553200"/>
            <a:ext cx="2133600" cy="168275"/>
          </a:xfrm>
        </p:spPr>
        <p:txBody>
          <a:bodyPr/>
          <a:lstStyle>
            <a:lvl1pPr>
              <a:defRPr/>
            </a:lvl1pPr>
          </a:lstStyle>
          <a:p>
            <a:fld id="{11900D40-FB42-4BBC-BBFB-3E1FECF7B548}" type="slidenum">
              <a:rPr lang="en-US" altLang="ru-RU">
                <a:solidFill>
                  <a:srgbClr val="000000"/>
                </a:solidFill>
              </a:rPr>
              <a:pPr/>
              <a:t>‹#›</a:t>
            </a:fld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3084" name="Text Box 12"/>
          <p:cNvSpPr txBox="1">
            <a:spLocks noChangeArrowheads="1"/>
          </p:cNvSpPr>
          <p:nvPr/>
        </p:nvSpPr>
        <p:spPr bwMode="gray">
          <a:xfrm>
            <a:off x="7239000" y="304800"/>
            <a:ext cx="1838325" cy="427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ru-RU" sz="2200">
                <a:solidFill>
                  <a:srgbClr val="FFFFFF"/>
                </a:solidFill>
                <a:latin typeface="Arial Black" panose="020B0A04020102020204" pitchFamily="34" charset="0"/>
                <a:cs typeface="+mn-cs"/>
              </a:rPr>
              <a:t>L/O/G/O</a:t>
            </a:r>
          </a:p>
        </p:txBody>
      </p:sp>
    </p:spTree>
    <p:extLst>
      <p:ext uri="{BB962C8B-B14F-4D97-AF65-F5344CB8AC3E}">
        <p14:creationId xmlns:p14="http://schemas.microsoft.com/office/powerpoint/2010/main" val="1891414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30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0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4" dur="500"/>
                                        <p:tgtEl>
                                          <p:spTgt spid="30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0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0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23" presetID="17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0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0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28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32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900" decel="100000" fill="hold"/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40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42" dur="1000"/>
                                        <p:tgtEl>
                                          <p:spTgt spid="30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4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0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0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0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87" grpId="0" animBg="1"/>
      <p:bldP spid="3086" grpId="0" animBg="1"/>
      <p:bldP spid="3088" grpId="0" animBg="1"/>
      <p:bldP spid="3089" grpId="0" animBg="1"/>
      <p:bldP spid="3090" grpId="0" animBg="1"/>
      <p:bldP spid="3092" grpId="0" animBg="1"/>
      <p:bldP spid="3074" grpId="0"/>
      <p:bldP spid="3075" grpId="0" build="p">
        <p:tmplLst>
          <p:tmpl lvl="1">
            <p:tnLst>
              <p:par>
                <p:cTn presetID="3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075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307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900" decel="100000" fill="hold"/>
                        <p:tgtEl>
                          <p:spTgt spid="307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1"/>
                          </p:val>
                        </p:tav>
                        <p:tav tm="100000">
                          <p:val>
                            <p:strVal val="#ppt_y-.03"/>
                          </p:val>
                        </p:tav>
                      </p:tavLst>
                    </p:anim>
                    <p:anim calcmode="lin" valueType="num">
                      <p:cBhvr>
                        <p:cTn dur="100" accel="100000" fill="hold">
                          <p:stCondLst>
                            <p:cond delay="900"/>
                          </p:stCondLst>
                        </p:cTn>
                        <p:tgtEl>
                          <p:spTgt spid="307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03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084" grpId="0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44488" y="1052513"/>
            <a:ext cx="4233862" cy="53292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30750" y="1052513"/>
            <a:ext cx="4233863" cy="53292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6905D8-A3A1-4372-B926-AAC5B2B794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FC78C5E-6FB5-4568-AE58-C32DC4E15573}" type="slidenum">
              <a:rPr lang="en-US" altLang="ru-RU">
                <a:solidFill>
                  <a:srgbClr val="000000"/>
                </a:solidFill>
              </a:rPr>
              <a:pPr/>
              <a:t>‹#›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20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E38A3D6-EDB3-4A17-88B2-7873BF595B77}" type="slidenum">
              <a:rPr lang="en-US" altLang="ru-RU">
                <a:solidFill>
                  <a:srgbClr val="000000"/>
                </a:solidFill>
              </a:rPr>
              <a:pPr/>
              <a:t>‹#›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11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AA5BC4A-4C89-4E95-ACBB-BAD92060BCB2}" type="slidenum">
              <a:rPr lang="en-US" altLang="ru-RU">
                <a:solidFill>
                  <a:srgbClr val="000000"/>
                </a:solidFill>
              </a:rPr>
              <a:pPr/>
              <a:t>‹#›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02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FDB3392-A1EF-4CD5-B223-54997065A75B}" type="slidenum">
              <a:rPr lang="en-US" altLang="ru-RU">
                <a:solidFill>
                  <a:srgbClr val="000000"/>
                </a:solidFill>
              </a:rPr>
              <a:pPr/>
              <a:t>‹#›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213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ACDA176-A846-4018-A1D7-83AAB4FE09EE}" type="slidenum">
              <a:rPr lang="en-US" altLang="ru-RU">
                <a:solidFill>
                  <a:srgbClr val="000000"/>
                </a:solidFill>
              </a:rPr>
              <a:pPr/>
              <a:t>‹#›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545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781327F-1A22-4401-BA6D-FFF1FC00D67A}" type="slidenum">
              <a:rPr lang="en-US" altLang="ru-RU">
                <a:solidFill>
                  <a:srgbClr val="000000"/>
                </a:solidFill>
              </a:rPr>
              <a:pPr/>
              <a:t>‹#›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754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50B27A5-150F-4951-84D4-A11F0D744A59}" type="slidenum">
              <a:rPr lang="en-US" altLang="ru-RU">
                <a:solidFill>
                  <a:srgbClr val="000000"/>
                </a:solidFill>
              </a:rPr>
              <a:pPr/>
              <a:t>‹#›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075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FEB85D-8B61-4FD5-9D17-B3C4A30FFD63}" type="slidenum">
              <a:rPr lang="en-US" altLang="ru-RU">
                <a:solidFill>
                  <a:srgbClr val="000000"/>
                </a:solidFill>
              </a:rPr>
              <a:pPr/>
              <a:t>‹#›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0251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5AB3AF9-1546-4448-8B8D-ED7ECD3F6D84}" type="slidenum">
              <a:rPr lang="en-US" altLang="ru-RU">
                <a:solidFill>
                  <a:srgbClr val="000000"/>
                </a:solidFill>
              </a:rPr>
              <a:pPr/>
              <a:t>‹#›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4340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7963"/>
            <a:ext cx="2057400" cy="5765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7963"/>
            <a:ext cx="6019800" cy="5765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F9344BB-C26F-4862-8601-92179A55CF3A}" type="slidenum">
              <a:rPr lang="en-US" altLang="ru-RU">
                <a:solidFill>
                  <a:srgbClr val="000000"/>
                </a:solidFill>
              </a:rPr>
              <a:pPr/>
              <a:t>‹#›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18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908BFE-25E6-4664-8CB1-41DFCAE8F6C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7963"/>
            <a:ext cx="8229600" cy="79216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447800"/>
            <a:ext cx="8229600" cy="4525963"/>
          </a:xfrm>
        </p:spPr>
        <p:txBody>
          <a:bodyPr/>
          <a:lstStyle/>
          <a:p>
            <a:r>
              <a:rPr lang="ru-RU" smtClean="0"/>
              <a:t>Вставка таблицы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9AA40A9D-2848-4F07-9CAA-D7DDA9455859}" type="slidenum">
              <a:rPr lang="en-US" altLang="ru-RU">
                <a:solidFill>
                  <a:srgbClr val="000000"/>
                </a:solidFill>
              </a:rPr>
              <a:pPr/>
              <a:t>‹#›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415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7963"/>
            <a:ext cx="8229600" cy="79216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447800"/>
            <a:ext cx="8229600" cy="4525963"/>
          </a:xfrm>
        </p:spPr>
        <p:txBody>
          <a:bodyPr/>
          <a:lstStyle/>
          <a:p>
            <a:r>
              <a:rPr lang="ru-RU" smtClean="0"/>
              <a:t>Вставка диаграммы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FE98841D-1F35-4349-AC1D-4BA2069D9EDA}" type="slidenum">
              <a:rPr lang="en-US" altLang="ru-RU">
                <a:solidFill>
                  <a:srgbClr val="000000"/>
                </a:solidFill>
              </a:rPr>
              <a:pPr/>
              <a:t>‹#›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371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Заголовок, схема или организацион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7963"/>
            <a:ext cx="8229600" cy="79216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SmartArt 2"/>
          <p:cNvSpPr>
            <a:spLocks noGrp="1"/>
          </p:cNvSpPr>
          <p:nvPr>
            <p:ph type="dgm" idx="1"/>
          </p:nvPr>
        </p:nvSpPr>
        <p:spPr>
          <a:xfrm>
            <a:off x="457200" y="1447800"/>
            <a:ext cx="8229600" cy="4525963"/>
          </a:xfrm>
        </p:spPr>
        <p:txBody>
          <a:bodyPr/>
          <a:lstStyle/>
          <a:p>
            <a:r>
              <a:rPr lang="ru-RU" smtClean="0"/>
              <a:t>Вставка рисунка SmartArt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FD1A3C78-4A11-465D-95CF-A14446D2BE1B}" type="slidenum">
              <a:rPr lang="en-US" altLang="ru-RU">
                <a:solidFill>
                  <a:srgbClr val="000000"/>
                </a:solidFill>
              </a:rPr>
              <a:pPr/>
              <a:t>‹#›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618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F90D35-5DE3-4188-B983-D30B717A308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9FC363-A726-4E8F-A8E9-F79A039CAB2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BFCED5-33EC-4D86-BECE-E8D5F06913D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8469F3-49CE-4CA2-B57F-EECB5E56B4B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12" descr="гайки подложка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4488" y="1052513"/>
            <a:ext cx="8620125" cy="532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096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0"/>
            <a:ext cx="23622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09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09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43875" y="6426200"/>
            <a:ext cx="82708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cs typeface="Arial" charset="0"/>
              </a:defRPr>
            </a:lvl1pPr>
          </a:lstStyle>
          <a:p>
            <a:pPr>
              <a:defRPr/>
            </a:pPr>
            <a:fld id="{B8723581-03E0-4934-9C27-B3B81C2A351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10248" name="Рисунок 8" descr="логотип Оргпром (новый).jpg"/>
          <p:cNvPicPr>
            <a:picLocks noChangeAspect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179388" y="6375400"/>
            <a:ext cx="131286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249" name="Group 14"/>
          <p:cNvGrpSpPr>
            <a:grpSpLocks/>
          </p:cNvGrpSpPr>
          <p:nvPr/>
        </p:nvGrpSpPr>
        <p:grpSpPr bwMode="auto">
          <a:xfrm>
            <a:off x="0" y="42863"/>
            <a:ext cx="9144000" cy="6815137"/>
            <a:chOff x="0" y="27"/>
            <a:chExt cx="5760" cy="4293"/>
          </a:xfrm>
        </p:grpSpPr>
        <p:sp>
          <p:nvSpPr>
            <p:cNvPr id="1035" name="Line 16"/>
            <p:cNvSpPr>
              <a:spLocks noChangeShapeType="1"/>
            </p:cNvSpPr>
            <p:nvPr/>
          </p:nvSpPr>
          <p:spPr bwMode="auto">
            <a:xfrm>
              <a:off x="0" y="4315"/>
              <a:ext cx="5760" cy="0"/>
            </a:xfrm>
            <a:prstGeom prst="line">
              <a:avLst/>
            </a:prstGeom>
            <a:noFill/>
            <a:ln w="127000">
              <a:solidFill>
                <a:srgbClr val="B02A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036" name="Line 15"/>
            <p:cNvSpPr>
              <a:spLocks noChangeShapeType="1"/>
            </p:cNvSpPr>
            <p:nvPr/>
          </p:nvSpPr>
          <p:spPr bwMode="auto">
            <a:xfrm>
              <a:off x="0" y="27"/>
              <a:ext cx="5760" cy="0"/>
            </a:xfrm>
            <a:prstGeom prst="line">
              <a:avLst/>
            </a:prstGeom>
            <a:noFill/>
            <a:ln w="127000">
              <a:solidFill>
                <a:srgbClr val="B02A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037" name="Line 17"/>
            <p:cNvSpPr>
              <a:spLocks noChangeShapeType="1"/>
            </p:cNvSpPr>
            <p:nvPr/>
          </p:nvSpPr>
          <p:spPr bwMode="auto">
            <a:xfrm flipH="1">
              <a:off x="9" y="48"/>
              <a:ext cx="0" cy="4272"/>
            </a:xfrm>
            <a:prstGeom prst="line">
              <a:avLst/>
            </a:prstGeom>
            <a:noFill/>
            <a:ln w="127000">
              <a:solidFill>
                <a:srgbClr val="B02A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038" name="Line 18"/>
            <p:cNvSpPr>
              <a:spLocks noChangeShapeType="1"/>
            </p:cNvSpPr>
            <p:nvPr/>
          </p:nvSpPr>
          <p:spPr bwMode="auto">
            <a:xfrm flipH="1">
              <a:off x="5721" y="45"/>
              <a:ext cx="0" cy="4272"/>
            </a:xfrm>
            <a:prstGeom prst="line">
              <a:avLst/>
            </a:prstGeom>
            <a:noFill/>
            <a:ln w="127000">
              <a:solidFill>
                <a:srgbClr val="B02A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  <p:sldLayoutId id="2147483905" r:id="rId11"/>
  </p:sldLayoutIdLst>
  <p:transition advClick="0" advTm="0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6E0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6E01"/>
          </a:solidFill>
          <a:latin typeface="Tahom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6E01"/>
          </a:solidFill>
          <a:latin typeface="Tahom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6E01"/>
          </a:solidFill>
          <a:latin typeface="Tahom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6E01"/>
          </a:solidFill>
          <a:latin typeface="Tahom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 i="1">
          <a:solidFill>
            <a:schemeClr val="accent2"/>
          </a:solidFill>
          <a:latin typeface="Tahom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 i="1">
          <a:solidFill>
            <a:schemeClr val="accent2"/>
          </a:solidFill>
          <a:latin typeface="Tahom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 i="1">
          <a:solidFill>
            <a:schemeClr val="accent2"/>
          </a:solidFill>
          <a:latin typeface="Tahom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 i="1">
          <a:solidFill>
            <a:schemeClr val="accent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12" descr="гайки подложка"/>
          <p:cNvPicPr>
            <a:picLocks noChangeAspect="1" noChangeArrowheads="1"/>
          </p:cNvPicPr>
          <p:nvPr/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126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4488" y="1052513"/>
            <a:ext cx="8620125" cy="532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096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0"/>
            <a:ext cx="23622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09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pic>
        <p:nvPicPr>
          <p:cNvPr id="11271" name="Рисунок 8" descr="логотип Оргпром (новый).jpg"/>
          <p:cNvPicPr>
            <a:picLocks noChangeAspect="1"/>
          </p:cNvPicPr>
          <p:nvPr/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179388" y="6375400"/>
            <a:ext cx="131286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272" name="Group 12"/>
          <p:cNvGrpSpPr>
            <a:grpSpLocks/>
          </p:cNvGrpSpPr>
          <p:nvPr/>
        </p:nvGrpSpPr>
        <p:grpSpPr bwMode="auto">
          <a:xfrm>
            <a:off x="0" y="42863"/>
            <a:ext cx="9144000" cy="6815137"/>
            <a:chOff x="0" y="27"/>
            <a:chExt cx="5760" cy="4293"/>
          </a:xfrm>
        </p:grpSpPr>
        <p:sp>
          <p:nvSpPr>
            <p:cNvPr id="2059" name="Line 16"/>
            <p:cNvSpPr>
              <a:spLocks noChangeShapeType="1"/>
            </p:cNvSpPr>
            <p:nvPr/>
          </p:nvSpPr>
          <p:spPr bwMode="auto">
            <a:xfrm>
              <a:off x="0" y="4315"/>
              <a:ext cx="5760" cy="0"/>
            </a:xfrm>
            <a:prstGeom prst="line">
              <a:avLst/>
            </a:prstGeom>
            <a:noFill/>
            <a:ln w="127000">
              <a:solidFill>
                <a:srgbClr val="B02A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060" name="Line 15"/>
            <p:cNvSpPr>
              <a:spLocks noChangeShapeType="1"/>
            </p:cNvSpPr>
            <p:nvPr/>
          </p:nvSpPr>
          <p:spPr bwMode="auto">
            <a:xfrm>
              <a:off x="0" y="27"/>
              <a:ext cx="5760" cy="0"/>
            </a:xfrm>
            <a:prstGeom prst="line">
              <a:avLst/>
            </a:prstGeom>
            <a:noFill/>
            <a:ln w="127000">
              <a:solidFill>
                <a:srgbClr val="B02A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061" name="Line 17"/>
            <p:cNvSpPr>
              <a:spLocks noChangeShapeType="1"/>
            </p:cNvSpPr>
            <p:nvPr/>
          </p:nvSpPr>
          <p:spPr bwMode="auto">
            <a:xfrm flipH="1">
              <a:off x="9" y="48"/>
              <a:ext cx="0" cy="4272"/>
            </a:xfrm>
            <a:prstGeom prst="line">
              <a:avLst/>
            </a:prstGeom>
            <a:noFill/>
            <a:ln w="127000">
              <a:solidFill>
                <a:srgbClr val="B02A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062" name="Line 18"/>
            <p:cNvSpPr>
              <a:spLocks noChangeShapeType="1"/>
            </p:cNvSpPr>
            <p:nvPr/>
          </p:nvSpPr>
          <p:spPr bwMode="auto">
            <a:xfrm flipH="1">
              <a:off x="5721" y="45"/>
              <a:ext cx="0" cy="4272"/>
            </a:xfrm>
            <a:prstGeom prst="line">
              <a:avLst/>
            </a:prstGeom>
            <a:noFill/>
            <a:ln w="127000">
              <a:solidFill>
                <a:srgbClr val="B02A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</p:grpSp>
      <p:sp>
        <p:nvSpPr>
          <p:cNvPr id="16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143875" y="6426200"/>
            <a:ext cx="827088" cy="333375"/>
          </a:xfrm>
          <a:prstGeom prst="rect">
            <a:avLst/>
          </a:prstGeom>
          <a:ln/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A2F93ACC-756A-4193-A7F0-A637DDF3B38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  <p:sldLayoutId id="2147483918" r:id="rId12"/>
    <p:sldLayoutId id="2147483919" r:id="rId13"/>
    <p:sldLayoutId id="2147483920" r:id="rId14"/>
    <p:sldLayoutId id="2147483906" r:id="rId15"/>
    <p:sldLayoutId id="2147483927" r:id="rId16"/>
  </p:sldLayoutIdLst>
  <p:transition advClick="0" advTm="0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6E0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6E01"/>
          </a:solidFill>
          <a:latin typeface="Tahom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6E01"/>
          </a:solidFill>
          <a:latin typeface="Tahom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6E01"/>
          </a:solidFill>
          <a:latin typeface="Tahom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6E01"/>
          </a:solidFill>
          <a:latin typeface="Tahoma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6E01"/>
          </a:solidFill>
          <a:latin typeface="Tahoma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6E01"/>
          </a:solidFill>
          <a:latin typeface="Tahoma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6E01"/>
          </a:solidFill>
          <a:latin typeface="Tahoma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6E01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66800" y="685800"/>
            <a:ext cx="8077200" cy="5867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0" y="6629400"/>
            <a:ext cx="19050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75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endParaRPr lang="en-US" altLang="ru-RU">
              <a:solidFill>
                <a:srgbClr val="FFFFFF"/>
              </a:solidFill>
              <a:cs typeface="+mn-cs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629400"/>
            <a:ext cx="28956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75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endParaRPr lang="en-US" altLang="ru-RU">
              <a:solidFill>
                <a:srgbClr val="FFFFFF"/>
              </a:solidFill>
              <a:cs typeface="+mn-cs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39000" y="6629400"/>
            <a:ext cx="19050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75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fld id="{7E03D43A-5A5D-4970-B20F-F5D00CA3CEA7}" type="slidenum">
              <a:rPr lang="en-US" altLang="ru-RU">
                <a:solidFill>
                  <a:srgbClr val="FFFFFF"/>
                </a:solidFill>
                <a:cs typeface="+mn-cs"/>
              </a:rPr>
              <a:pPr/>
              <a:t>‹#›</a:t>
            </a:fld>
            <a:endParaRPr lang="en-US" altLang="ru-RU">
              <a:solidFill>
                <a:srgbClr val="FFFFFF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6602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  <p:sldLayoutId id="2147483938" r:id="rId10"/>
    <p:sldLayoutId id="2147483939" r:id="rId11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700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Franklin Gothic Heavy" panose="020B09030201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Franklin Gothic Heavy" panose="020B09030201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Franklin Gothic Heavy" panose="020B09030201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Franklin Gothic Heavy" panose="020B0903020102020204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Franklin Gothic Heavy" panose="020B0903020102020204" pitchFamily="34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Franklin Gothic Heavy" panose="020B0903020102020204" pitchFamily="34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Franklin Gothic Heavy" panose="020B0903020102020204" pitchFamily="34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2700">
          <a:solidFill>
            <a:schemeClr val="bg1"/>
          </a:solidFill>
          <a:latin typeface="Franklin Gothic Heavy" panose="020B0903020102020204" pitchFamily="34" charset="0"/>
        </a:defRPr>
      </a:lvl9pPr>
    </p:titleStyle>
    <p:bodyStyle>
      <a:lvl1pPr marL="257175" indent="-257175" algn="l" rtl="0" eaLnBrk="1" fontAlgn="base" hangingPunct="1">
        <a:spcBef>
          <a:spcPct val="20000"/>
        </a:spcBef>
        <a:spcAft>
          <a:spcPct val="0"/>
        </a:spcAft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1" fontAlgn="base" hangingPunct="1">
        <a:spcBef>
          <a:spcPct val="20000"/>
        </a:spcBef>
        <a:spcAft>
          <a:spcPct val="0"/>
        </a:spcAft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1" fontAlgn="base" hangingPunct="1">
        <a:spcBef>
          <a:spcPct val="20000"/>
        </a:spcBef>
        <a:spcAft>
          <a:spcPct val="0"/>
        </a:spcAft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1" fontAlgn="base" hangingPunct="1">
        <a:spcBef>
          <a:spcPct val="20000"/>
        </a:spcBef>
        <a:spcAft>
          <a:spcPct val="0"/>
        </a:spcAft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1" fontAlgn="base" hangingPunct="1">
        <a:spcBef>
          <a:spcPct val="20000"/>
        </a:spcBef>
        <a:spcAft>
          <a:spcPct val="0"/>
        </a:spcAft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7" name="Picture 13" descr="5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2" name="Rectangle 8"/>
          <p:cNvSpPr>
            <a:spLocks noChangeArrowheads="1"/>
          </p:cNvSpPr>
          <p:nvPr/>
        </p:nvSpPr>
        <p:spPr bwMode="gray">
          <a:xfrm>
            <a:off x="8893175" y="1035050"/>
            <a:ext cx="250825" cy="1776413"/>
          </a:xfrm>
          <a:prstGeom prst="rect">
            <a:avLst/>
          </a:prstGeom>
          <a:solidFill>
            <a:srgbClr val="DCDCD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gray">
          <a:xfrm>
            <a:off x="8893175" y="2855913"/>
            <a:ext cx="250825" cy="4002087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34" name="Rectangle 10"/>
          <p:cNvSpPr>
            <a:spLocks noChangeArrowheads="1"/>
          </p:cNvSpPr>
          <p:nvPr/>
        </p:nvSpPr>
        <p:spPr bwMode="gray">
          <a:xfrm>
            <a:off x="0" y="0"/>
            <a:ext cx="9144000" cy="990600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35" name="Rectangle 11"/>
          <p:cNvSpPr>
            <a:spLocks noChangeArrowheads="1"/>
          </p:cNvSpPr>
          <p:nvPr/>
        </p:nvSpPr>
        <p:spPr bwMode="gray">
          <a:xfrm>
            <a:off x="0" y="115888"/>
            <a:ext cx="8893175" cy="8747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57200" y="207963"/>
            <a:ext cx="8229600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7200" y="14478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en-US" altLang="ru-RU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 altLang="ru-RU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2BD71EEF-A0F2-4D7B-9900-C63EC45E6F68}" type="slidenum">
              <a:rPr lang="en-US" altLang="ru-RU">
                <a:solidFill>
                  <a:srgbClr val="000000"/>
                </a:solidFill>
                <a:latin typeface="Arial"/>
                <a:cs typeface="+mn-cs"/>
              </a:rPr>
              <a:pPr/>
              <a:t>‹#›</a:t>
            </a:fld>
            <a:endParaRPr lang="en-US" altLang="ru-RU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5273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3952" r:id="rId12"/>
    <p:sldLayoutId id="2147483953" r:id="rId13"/>
    <p:sldLayoutId id="2147483954" r:id="rId14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7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2" grpId="0" animBg="1"/>
      <p:bldP spid="1033" grpId="0" animBg="1"/>
      <p:bldP spid="1034" grpId="0" animBg="1"/>
      <p:bldP spid="1035" grpId="0" animBg="1"/>
      <p:bldP spid="1026" grpId="0"/>
    </p:bldLst>
  </p:timing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anose="020B0604020202020204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anose="020B0604020202020204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anose="020B0604020202020204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anose="020B0604020202020204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anose="020B0604020202020204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anose="020B0604020202020204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anose="020B0604020202020204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40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mailto:abaranov@orgprom.ru" TargetMode="External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13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slide" Target="slide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0.png"/><Relationship Id="rId7" Type="http://schemas.openxmlformats.org/officeDocument/2006/relationships/image" Target="../media/image13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171" name="Text Box 3"/>
          <p:cNvSpPr txBox="1">
            <a:spLocks noChangeArrowheads="1"/>
          </p:cNvSpPr>
          <p:nvPr/>
        </p:nvSpPr>
        <p:spPr bwMode="auto">
          <a:xfrm>
            <a:off x="611188" y="188913"/>
            <a:ext cx="7924800" cy="1325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3100" b="1">
                <a:solidFill>
                  <a:srgbClr val="FF66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Методы и инструменты     Бережливого производства</a:t>
            </a:r>
            <a:r>
              <a:rPr lang="en-US" sz="3500" b="1">
                <a:solidFill>
                  <a:srgbClr val="FF66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     </a:t>
            </a:r>
            <a:r>
              <a:rPr lang="ru-RU" sz="3500" b="1">
                <a:solidFill>
                  <a:srgbClr val="FF66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                         </a:t>
            </a:r>
            <a:r>
              <a:rPr lang="ru-RU" sz="2400" b="1">
                <a:solidFill>
                  <a:srgbClr val="FF66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(</a:t>
            </a:r>
            <a:r>
              <a:rPr lang="en-US" sz="2400" b="1">
                <a:solidFill>
                  <a:srgbClr val="FF66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Lean manufacturing)</a:t>
            </a:r>
          </a:p>
        </p:txBody>
      </p:sp>
      <p:sp>
        <p:nvSpPr>
          <p:cNvPr id="30724" name="Rectangle 4"/>
          <p:cNvSpPr>
            <a:spLocks noChangeArrowheads="1"/>
          </p:cNvSpPr>
          <p:nvPr/>
        </p:nvSpPr>
        <p:spPr bwMode="auto">
          <a:xfrm>
            <a:off x="1695450" y="3327400"/>
            <a:ext cx="554038" cy="1644650"/>
          </a:xfrm>
          <a:prstGeom prst="rect">
            <a:avLst/>
          </a:prstGeom>
          <a:gradFill rotWithShape="1">
            <a:gsLst>
              <a:gs pos="0">
                <a:srgbClr val="003366">
                  <a:alpha val="59000"/>
                </a:srgbClr>
              </a:gs>
              <a:gs pos="100000">
                <a:srgbClr val="6483A2">
                  <a:alpha val="53000"/>
                </a:srgbClr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30725" name="Rectangle 5"/>
          <p:cNvSpPr>
            <a:spLocks noChangeArrowheads="1"/>
          </p:cNvSpPr>
          <p:nvPr/>
        </p:nvSpPr>
        <p:spPr bwMode="auto">
          <a:xfrm>
            <a:off x="2674938" y="3327400"/>
            <a:ext cx="555625" cy="1644650"/>
          </a:xfrm>
          <a:prstGeom prst="rect">
            <a:avLst/>
          </a:prstGeom>
          <a:gradFill rotWithShape="1">
            <a:gsLst>
              <a:gs pos="0">
                <a:srgbClr val="003366">
                  <a:alpha val="59000"/>
                </a:srgbClr>
              </a:gs>
              <a:gs pos="100000">
                <a:srgbClr val="6483A2">
                  <a:alpha val="53000"/>
                </a:srgbClr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677863" y="3327400"/>
            <a:ext cx="555625" cy="1644650"/>
          </a:xfrm>
          <a:prstGeom prst="rect">
            <a:avLst/>
          </a:prstGeom>
          <a:gradFill rotWithShape="1">
            <a:gsLst>
              <a:gs pos="0">
                <a:srgbClr val="003366">
                  <a:alpha val="59000"/>
                </a:srgbClr>
              </a:gs>
              <a:gs pos="100000">
                <a:srgbClr val="6483A2">
                  <a:alpha val="53000"/>
                </a:srgbClr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30727" name="AutoShape 7"/>
          <p:cNvSpPr>
            <a:spLocks noChangeArrowheads="1"/>
          </p:cNvSpPr>
          <p:nvPr/>
        </p:nvSpPr>
        <p:spPr bwMode="auto">
          <a:xfrm>
            <a:off x="273050" y="2420938"/>
            <a:ext cx="3233738" cy="741362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003366">
                  <a:alpha val="59000"/>
                </a:srgbClr>
              </a:gs>
              <a:gs pos="100000">
                <a:srgbClr val="6483A2">
                  <a:alpha val="53000"/>
                </a:srgbClr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30728" name="AutoShape 8"/>
          <p:cNvSpPr>
            <a:spLocks noChangeArrowheads="1"/>
          </p:cNvSpPr>
          <p:nvPr/>
        </p:nvSpPr>
        <p:spPr bwMode="auto">
          <a:xfrm flipV="1">
            <a:off x="215900" y="5056188"/>
            <a:ext cx="3419475" cy="246062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733 w 21600"/>
              <a:gd name="T13" fmla="*/ 2733 h 21600"/>
              <a:gd name="T14" fmla="*/ 18867 w 21600"/>
              <a:gd name="T15" fmla="*/ 18867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1866" y="21600"/>
                </a:lnTo>
                <a:lnTo>
                  <a:pt x="19734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003366">
                  <a:alpha val="59000"/>
                </a:srgbClr>
              </a:gs>
              <a:gs pos="100000">
                <a:srgbClr val="6483A2">
                  <a:alpha val="53000"/>
                </a:srgbClr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30729" name="Text Box 9"/>
          <p:cNvSpPr txBox="1">
            <a:spLocks noChangeArrowheads="1"/>
          </p:cNvSpPr>
          <p:nvPr/>
        </p:nvSpPr>
        <p:spPr bwMode="auto">
          <a:xfrm>
            <a:off x="179388" y="5673725"/>
            <a:ext cx="8897937" cy="503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700" b="1">
                <a:solidFill>
                  <a:srgbClr val="CC3300"/>
                </a:solidFill>
                <a:latin typeface="Comic Sans MS" pitchFamily="66" charset="0"/>
              </a:rPr>
              <a:t>Ищем проблемы, находим и реализуем решения !</a:t>
            </a:r>
          </a:p>
        </p:txBody>
      </p:sp>
      <p:sp>
        <p:nvSpPr>
          <p:cNvPr id="30730" name="Номер слайда 9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fld id="{1FA32CB7-348B-4A7A-B7CF-77FCB3B479A4}" type="slidenum">
              <a:rPr lang="ru-RU" smtClean="0"/>
              <a:pPr/>
              <a:t>1</a:t>
            </a:fld>
            <a:endParaRPr lang="ru-RU" smtClean="0"/>
          </a:p>
        </p:txBody>
      </p:sp>
      <p:sp>
        <p:nvSpPr>
          <p:cNvPr id="12" name="TextBox 11"/>
          <p:cNvSpPr txBox="1"/>
          <p:nvPr/>
        </p:nvSpPr>
        <p:spPr>
          <a:xfrm>
            <a:off x="2284348" y="6372897"/>
            <a:ext cx="50658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/>
              <a:t>г. </a:t>
            </a:r>
            <a:r>
              <a:rPr lang="ru-RU" dirty="0" smtClean="0"/>
              <a:t>Екатеринбург, Экспо-Центр, апрель </a:t>
            </a:r>
            <a:r>
              <a:rPr lang="ru-RU" dirty="0" smtClean="0"/>
              <a:t>2016 г.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451051" y="2707603"/>
            <a:ext cx="5607050" cy="1865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spcBef>
                <a:spcPct val="50000"/>
              </a:spcBef>
            </a:pPr>
            <a:r>
              <a:rPr lang="ru-RU" sz="2400" b="1" dirty="0" smtClean="0">
                <a:latin typeface="Comic Sans MS" pitchFamily="66" charset="0"/>
              </a:rPr>
              <a:t>Подготовка </a:t>
            </a:r>
            <a:r>
              <a:rPr lang="ru-RU" sz="2400" b="1" dirty="0">
                <a:latin typeface="Comic Sans MS" pitchFamily="66" charset="0"/>
              </a:rPr>
              <a:t>(</a:t>
            </a:r>
            <a:r>
              <a:rPr lang="ru-RU" sz="2400" b="1" dirty="0" smtClean="0">
                <a:latin typeface="Comic Sans MS" pitchFamily="66" charset="0"/>
              </a:rPr>
              <a:t>переподготовка) </a:t>
            </a:r>
            <a:r>
              <a:rPr lang="ru-RU" sz="2400" b="1" dirty="0">
                <a:latin typeface="Comic Sans MS" pitchFamily="66" charset="0"/>
              </a:rPr>
              <a:t>и сохранения  квалифицированных кадров на предприятиях ОПК и машиностроения»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>Дорожная карта проекта</a:t>
            </a:r>
            <a:endParaRPr lang="ru-RU" sz="28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184" y="6190018"/>
            <a:ext cx="1728544" cy="521975"/>
          </a:xfrm>
          <a:prstGeom prst="rect">
            <a:avLst/>
          </a:prstGeom>
        </p:spPr>
      </p:pic>
      <p:graphicFrame>
        <p:nvGraphicFramePr>
          <p:cNvPr id="8" name="Объект 7"/>
          <p:cNvGraphicFramePr>
            <a:graphicFrameLocks noChangeAspect="1"/>
          </p:cNvGraphicFramePr>
          <p:nvPr>
            <p:extLst/>
          </p:nvPr>
        </p:nvGraphicFramePr>
        <p:xfrm>
          <a:off x="563899" y="1141004"/>
          <a:ext cx="8122901" cy="50820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Visio" r:id="rId4" imgW="9382298" imgH="7220102" progId="">
                  <p:embed/>
                </p:oleObj>
              </mc:Choice>
              <mc:Fallback>
                <p:oleObj name="Visio" r:id="rId4" imgW="9382298" imgH="7220102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63899" y="1141004"/>
                        <a:ext cx="8122901" cy="50820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C78C5E-6FB5-4568-AE58-C32DC4E15573}" type="slidenum">
              <a:rPr lang="en-US" altLang="ru-RU" smtClean="0">
                <a:solidFill>
                  <a:srgbClr val="000000"/>
                </a:solidFill>
              </a:rPr>
              <a:pPr/>
              <a:t>10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992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>Учебный курс</a:t>
            </a:r>
            <a:endParaRPr lang="ru-RU" sz="28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184" y="6190018"/>
            <a:ext cx="1728544" cy="521975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0" y="5225520"/>
            <a:ext cx="9144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Итогом работы по проекту РПС стало появление учебного курса по инструментам и системам как бережливого производства, так и по эффективным системам управления и коммуникации. </a:t>
            </a:r>
            <a:endParaRPr lang="ru-RU" altLang="ru-RU" sz="1400" kern="0" dirty="0">
              <a:solidFill>
                <a:srgbClr val="1C1C1C"/>
              </a:solidFill>
              <a:latin typeface="Arial"/>
              <a:cs typeface="+mn-cs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4462" y="1000125"/>
            <a:ext cx="6315075" cy="41338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C78C5E-6FB5-4568-AE58-C32DC4E15573}" type="slidenum">
              <a:rPr lang="en-US" altLang="ru-RU" smtClean="0">
                <a:solidFill>
                  <a:srgbClr val="000000"/>
                </a:solidFill>
              </a:rPr>
              <a:pPr/>
              <a:t>11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4784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>Программа РПС</a:t>
            </a:r>
            <a:endParaRPr lang="ru-RU" sz="28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184" y="6190018"/>
            <a:ext cx="1728544" cy="521975"/>
          </a:xfrm>
          <a:prstGeom prst="rect">
            <a:avLst/>
          </a:prstGeom>
        </p:spPr>
      </p:pic>
      <p:sp>
        <p:nvSpPr>
          <p:cNvPr id="6" name="Скругленный прямоугольник 5"/>
          <p:cNvSpPr/>
          <p:nvPr/>
        </p:nvSpPr>
        <p:spPr>
          <a:xfrm>
            <a:off x="240788" y="2255840"/>
            <a:ext cx="2793600" cy="115212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4F81BD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rIns="0" rtlCol="0" anchor="ctr"/>
          <a:lstStyle/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ru-RU" sz="11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Анализ текущего состояния (КПСЦ)</a:t>
            </a: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ru-RU" sz="11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Оценка производительности оборудования и рабочих мест</a:t>
            </a: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ru-RU" sz="11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Оценка готовности персонала к участию в программе</a:t>
            </a:r>
            <a:endParaRPr lang="ru-RU" sz="11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112060" y="2255840"/>
            <a:ext cx="2880320" cy="115212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4F81BD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rIns="0" rtlCol="0" anchor="ctr"/>
          <a:lstStyle/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ru-RU" sz="11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Выработка решений и разработка программы РПС</a:t>
            </a: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ru-RU" sz="11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Обучение и вовлечение персонала</a:t>
            </a: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ru-RU" sz="11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Запуск «пилотных» проектов</a:t>
            </a: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ru-RU" sz="11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Тиражирование опыта и проектов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079538" y="2255840"/>
            <a:ext cx="2794496" cy="1152127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4F81BD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rIns="0" rtlCol="0" anchor="ctr"/>
          <a:lstStyle/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ru-RU" sz="11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Обучено </a:t>
            </a:r>
            <a:r>
              <a:rPr lang="ru-RU" sz="1100" b="1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93 работников </a:t>
            </a:r>
            <a:r>
              <a:rPr lang="ru-RU" sz="11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и </a:t>
            </a:r>
            <a:r>
              <a:rPr lang="ru-RU" sz="1100" b="1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15 топ-менеджеров </a:t>
            </a:r>
            <a:r>
              <a:rPr lang="ru-RU" sz="11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компании</a:t>
            </a: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ru-RU" sz="11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Реализовано </a:t>
            </a:r>
            <a:r>
              <a:rPr lang="ru-RU" sz="1100" b="1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19 проектов</a:t>
            </a: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ru-RU" sz="11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Вовлечено в реализацию проектов более </a:t>
            </a:r>
            <a:r>
              <a:rPr lang="ru-RU" sz="1100" b="1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100 человек</a:t>
            </a:r>
            <a:endParaRPr lang="ru-RU" sz="1100" b="1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1135946"/>
            <a:ext cx="8891452" cy="975877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17" name="Group 6"/>
          <p:cNvGrpSpPr>
            <a:grpSpLocks/>
          </p:cNvGrpSpPr>
          <p:nvPr/>
        </p:nvGrpSpPr>
        <p:grpSpPr bwMode="auto">
          <a:xfrm>
            <a:off x="363536" y="1266430"/>
            <a:ext cx="2292807" cy="703262"/>
            <a:chOff x="479" y="2640"/>
            <a:chExt cx="1264" cy="556"/>
          </a:xfrm>
        </p:grpSpPr>
        <p:sp>
          <p:nvSpPr>
            <p:cNvPr id="18" name="AutoShape 7"/>
            <p:cNvSpPr>
              <a:spLocks noChangeArrowheads="1"/>
            </p:cNvSpPr>
            <p:nvPr/>
          </p:nvSpPr>
          <p:spPr bwMode="gray">
            <a:xfrm>
              <a:off x="479" y="2640"/>
              <a:ext cx="1264" cy="556"/>
            </a:xfrm>
            <a:prstGeom prst="chevron">
              <a:avLst>
                <a:gd name="adj" fmla="val 36511"/>
              </a:avLst>
            </a:prstGeom>
            <a:gradFill rotWithShape="1">
              <a:gsLst>
                <a:gs pos="0">
                  <a:srgbClr val="416F8B">
                    <a:gamma/>
                    <a:tint val="10196"/>
                    <a:invGamma/>
                  </a:srgbClr>
                </a:gs>
                <a:gs pos="50000">
                  <a:srgbClr val="416F8B"/>
                </a:gs>
                <a:gs pos="100000">
                  <a:srgbClr val="416F8B">
                    <a:gamma/>
                    <a:tint val="10196"/>
                    <a:invGamma/>
                  </a:srgbClr>
                </a:gs>
              </a:gsLst>
              <a:lin ang="0" scaled="1"/>
            </a:gradFill>
            <a:ln w="12700" algn="ctr">
              <a:solidFill>
                <a:srgbClr val="416F8B"/>
              </a:solidFill>
              <a:miter lim="800000"/>
              <a:headEnd/>
              <a:tailEnd/>
            </a:ln>
            <a:effectLst>
              <a:outerShdw dist="50800" dir="5400000" algn="ctr" rotWithShape="0">
                <a:srgbClr val="80808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ru-RU" kern="0" smtClean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9" name="AutoShape 8"/>
            <p:cNvSpPr>
              <a:spLocks noChangeArrowheads="1"/>
            </p:cNvSpPr>
            <p:nvPr/>
          </p:nvSpPr>
          <p:spPr bwMode="gray">
            <a:xfrm>
              <a:off x="501" y="2655"/>
              <a:ext cx="1229" cy="528"/>
            </a:xfrm>
            <a:prstGeom prst="chevron">
              <a:avLst>
                <a:gd name="adj" fmla="val 38600"/>
              </a:avLst>
            </a:prstGeom>
            <a:gradFill rotWithShape="1">
              <a:gsLst>
                <a:gs pos="0">
                  <a:srgbClr val="416F8B">
                    <a:gamma/>
                    <a:tint val="50980"/>
                    <a:invGamma/>
                  </a:srgbClr>
                </a:gs>
                <a:gs pos="50000">
                  <a:srgbClr val="416F8B"/>
                </a:gs>
                <a:gs pos="100000">
                  <a:srgbClr val="416F8B">
                    <a:gamma/>
                    <a:tint val="50980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0800" dir="5400000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ru-RU" kern="0" smtClean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0" name="Text Box 9"/>
          <p:cNvSpPr txBox="1">
            <a:spLocks noChangeArrowheads="1"/>
          </p:cNvSpPr>
          <p:nvPr/>
        </p:nvSpPr>
        <p:spPr bwMode="gray">
          <a:xfrm>
            <a:off x="434652" y="1374377"/>
            <a:ext cx="230424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chemeClr val="accent2">
                        <a:gamma/>
                        <a:tint val="73725"/>
                        <a:invGamma/>
                      </a:scheme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altLang="ru-RU" sz="2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  <a:cs typeface="Arial" panose="020B0604020202020204" pitchFamily="34" charset="0"/>
              </a:rPr>
              <a:t>Диагностика</a:t>
            </a:r>
            <a:endParaRPr lang="en-US" altLang="ru-RU" sz="2400" b="1" dirty="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/>
              <a:cs typeface="Arial" panose="020B0604020202020204" pitchFamily="34" charset="0"/>
            </a:endParaRPr>
          </a:p>
        </p:txBody>
      </p:sp>
      <p:grpSp>
        <p:nvGrpSpPr>
          <p:cNvPr id="21" name="Group 10"/>
          <p:cNvGrpSpPr>
            <a:grpSpLocks/>
          </p:cNvGrpSpPr>
          <p:nvPr/>
        </p:nvGrpSpPr>
        <p:grpSpPr bwMode="auto">
          <a:xfrm>
            <a:off x="3299322" y="1285403"/>
            <a:ext cx="2292807" cy="703262"/>
            <a:chOff x="479" y="2640"/>
            <a:chExt cx="1264" cy="556"/>
          </a:xfrm>
        </p:grpSpPr>
        <p:sp>
          <p:nvSpPr>
            <p:cNvPr id="22" name="AutoShape 11"/>
            <p:cNvSpPr>
              <a:spLocks noChangeArrowheads="1"/>
            </p:cNvSpPr>
            <p:nvPr/>
          </p:nvSpPr>
          <p:spPr bwMode="gray">
            <a:xfrm>
              <a:off x="479" y="2640"/>
              <a:ext cx="1264" cy="556"/>
            </a:xfrm>
            <a:prstGeom prst="chevron">
              <a:avLst>
                <a:gd name="adj" fmla="val 36511"/>
              </a:avLst>
            </a:prstGeom>
            <a:gradFill rotWithShape="1">
              <a:gsLst>
                <a:gs pos="0">
                  <a:srgbClr val="BE46B0">
                    <a:gamma/>
                    <a:tint val="10196"/>
                    <a:invGamma/>
                  </a:srgbClr>
                </a:gs>
                <a:gs pos="50000">
                  <a:srgbClr val="BE46B0"/>
                </a:gs>
                <a:gs pos="100000">
                  <a:srgbClr val="BE46B0">
                    <a:gamma/>
                    <a:tint val="10196"/>
                    <a:invGamma/>
                  </a:srgbClr>
                </a:gs>
              </a:gsLst>
              <a:lin ang="0" scaled="1"/>
            </a:gradFill>
            <a:ln w="12700" algn="ctr">
              <a:solidFill>
                <a:srgbClr val="BE46B0"/>
              </a:solidFill>
              <a:miter lim="800000"/>
              <a:headEnd/>
              <a:tailEnd/>
            </a:ln>
            <a:effectLst>
              <a:outerShdw dist="50800" dir="5400000" algn="ctr" rotWithShape="0">
                <a:srgbClr val="80808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ru-RU" kern="0" smtClean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3" name="AutoShape 12"/>
            <p:cNvSpPr>
              <a:spLocks noChangeArrowheads="1"/>
            </p:cNvSpPr>
            <p:nvPr/>
          </p:nvSpPr>
          <p:spPr bwMode="gray">
            <a:xfrm>
              <a:off x="501" y="2655"/>
              <a:ext cx="1229" cy="528"/>
            </a:xfrm>
            <a:prstGeom prst="chevron">
              <a:avLst>
                <a:gd name="adj" fmla="val 38600"/>
              </a:avLst>
            </a:prstGeom>
            <a:gradFill rotWithShape="1">
              <a:gsLst>
                <a:gs pos="0">
                  <a:srgbClr val="BE46B0">
                    <a:gamma/>
                    <a:tint val="50980"/>
                    <a:invGamma/>
                  </a:srgbClr>
                </a:gs>
                <a:gs pos="50000">
                  <a:srgbClr val="BE46B0"/>
                </a:gs>
                <a:gs pos="100000">
                  <a:srgbClr val="BE46B0">
                    <a:gamma/>
                    <a:tint val="50980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accent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0800" dir="5400000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ru-RU" kern="0" smtClean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24" name="Group 13"/>
          <p:cNvGrpSpPr>
            <a:grpSpLocks/>
          </p:cNvGrpSpPr>
          <p:nvPr/>
        </p:nvGrpSpPr>
        <p:grpSpPr bwMode="auto">
          <a:xfrm>
            <a:off x="6265364" y="1285403"/>
            <a:ext cx="2292807" cy="703262"/>
            <a:chOff x="479" y="2640"/>
            <a:chExt cx="1264" cy="556"/>
          </a:xfrm>
        </p:grpSpPr>
        <p:sp>
          <p:nvSpPr>
            <p:cNvPr id="25" name="AutoShape 14"/>
            <p:cNvSpPr>
              <a:spLocks noChangeArrowheads="1"/>
            </p:cNvSpPr>
            <p:nvPr/>
          </p:nvSpPr>
          <p:spPr bwMode="gray">
            <a:xfrm>
              <a:off x="479" y="2640"/>
              <a:ext cx="1264" cy="556"/>
            </a:xfrm>
            <a:prstGeom prst="chevron">
              <a:avLst>
                <a:gd name="adj" fmla="val 36511"/>
              </a:avLst>
            </a:prstGeom>
            <a:gradFill rotWithShape="1">
              <a:gsLst>
                <a:gs pos="0">
                  <a:srgbClr val="057AE5">
                    <a:gamma/>
                    <a:tint val="10196"/>
                    <a:invGamma/>
                  </a:srgbClr>
                </a:gs>
                <a:gs pos="50000">
                  <a:srgbClr val="057AE5"/>
                </a:gs>
                <a:gs pos="100000">
                  <a:srgbClr val="057AE5">
                    <a:gamma/>
                    <a:tint val="10196"/>
                    <a:invGamma/>
                  </a:srgbClr>
                </a:gs>
              </a:gsLst>
              <a:lin ang="0" scaled="1"/>
            </a:gradFill>
            <a:ln w="12700" algn="ctr">
              <a:solidFill>
                <a:srgbClr val="057AE5"/>
              </a:solidFill>
              <a:miter lim="800000"/>
              <a:headEnd/>
              <a:tailEnd/>
            </a:ln>
            <a:effectLst>
              <a:outerShdw dist="50800" dir="5400000" algn="ctr" rotWithShape="0">
                <a:srgbClr val="80808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ru-RU" kern="0" smtClean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6" name="AutoShape 15"/>
            <p:cNvSpPr>
              <a:spLocks noChangeArrowheads="1"/>
            </p:cNvSpPr>
            <p:nvPr/>
          </p:nvSpPr>
          <p:spPr bwMode="gray">
            <a:xfrm>
              <a:off x="501" y="2655"/>
              <a:ext cx="1229" cy="528"/>
            </a:xfrm>
            <a:prstGeom prst="chevron">
              <a:avLst>
                <a:gd name="adj" fmla="val 38600"/>
              </a:avLst>
            </a:prstGeom>
            <a:gradFill rotWithShape="1">
              <a:gsLst>
                <a:gs pos="0">
                  <a:srgbClr val="057AE5">
                    <a:gamma/>
                    <a:tint val="50980"/>
                    <a:invGamma/>
                  </a:srgbClr>
                </a:gs>
                <a:gs pos="50000">
                  <a:srgbClr val="057AE5"/>
                </a:gs>
                <a:gs pos="100000">
                  <a:srgbClr val="057AE5">
                    <a:gamma/>
                    <a:tint val="50980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0800" dir="5400000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ru-RU" kern="0" smtClean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7" name="Text Box 25"/>
          <p:cNvSpPr txBox="1">
            <a:spLocks noChangeArrowheads="1"/>
          </p:cNvSpPr>
          <p:nvPr/>
        </p:nvSpPr>
        <p:spPr bwMode="gray">
          <a:xfrm>
            <a:off x="3516630" y="1403081"/>
            <a:ext cx="1858189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chemeClr val="accent2">
                        <a:gamma/>
                        <a:tint val="73725"/>
                        <a:invGamma/>
                      </a:scheme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altLang="ru-RU" sz="2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  <a:cs typeface="Arial" panose="020B0604020202020204" pitchFamily="34" charset="0"/>
              </a:rPr>
              <a:t>Решения</a:t>
            </a:r>
            <a:endParaRPr lang="en-US" altLang="ru-RU" sz="2400" b="1" dirty="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/>
              <a:cs typeface="Arial" panose="020B0604020202020204" pitchFamily="34" charset="0"/>
            </a:endParaRPr>
          </a:p>
        </p:txBody>
      </p:sp>
      <p:sp>
        <p:nvSpPr>
          <p:cNvPr id="28" name="Text Box 26"/>
          <p:cNvSpPr txBox="1">
            <a:spLocks noChangeArrowheads="1"/>
          </p:cNvSpPr>
          <p:nvPr/>
        </p:nvSpPr>
        <p:spPr bwMode="gray">
          <a:xfrm>
            <a:off x="6420889" y="1374377"/>
            <a:ext cx="213728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2"/>
                    </a:gs>
                    <a:gs pos="100000">
                      <a:schemeClr val="accent2">
                        <a:gamma/>
                        <a:tint val="73725"/>
                        <a:invGamma/>
                      </a:scheme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altLang="ru-RU" sz="2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  <a:cs typeface="Arial" panose="020B0604020202020204" pitchFamily="34" charset="0"/>
              </a:rPr>
              <a:t>Реализация</a:t>
            </a:r>
            <a:endParaRPr lang="en-US" altLang="ru-RU" sz="2400" b="1" dirty="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/>
              <a:cs typeface="Arial" panose="020B0604020202020204" pitchFamily="34" charset="0"/>
            </a:endParaRP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418" y="3594684"/>
            <a:ext cx="2743065" cy="179897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0687" y="3551984"/>
            <a:ext cx="2743065" cy="181336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956" y="3512064"/>
            <a:ext cx="2753782" cy="185328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3" name="Номер слайда 3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C78C5E-6FB5-4568-AE58-C32DC4E15573}" type="slidenum">
              <a:rPr lang="en-US" altLang="ru-RU" smtClean="0">
                <a:solidFill>
                  <a:srgbClr val="000000"/>
                </a:solidFill>
              </a:rPr>
              <a:pPr/>
              <a:t>12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2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>Применяемые методики</a:t>
            </a:r>
            <a:endParaRPr lang="ru-RU" sz="28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184" y="6190018"/>
            <a:ext cx="1728544" cy="521975"/>
          </a:xfrm>
          <a:prstGeom prst="rect">
            <a:avLst/>
          </a:prstGeom>
        </p:spPr>
      </p:pic>
      <p:sp>
        <p:nvSpPr>
          <p:cNvPr id="35" name="AutoShape 3"/>
          <p:cNvSpPr>
            <a:spLocks noChangeArrowheads="1"/>
          </p:cNvSpPr>
          <p:nvPr/>
        </p:nvSpPr>
        <p:spPr bwMode="gray">
          <a:xfrm>
            <a:off x="504825" y="2604615"/>
            <a:ext cx="4041775" cy="3678238"/>
          </a:xfrm>
          <a:custGeom>
            <a:avLst/>
            <a:gdLst>
              <a:gd name="G0" fmla="+- 6050 0 0"/>
              <a:gd name="G1" fmla="+- 11775378 0 0"/>
              <a:gd name="G2" fmla="+- 0 0 11775378"/>
              <a:gd name="T0" fmla="*/ 0 256 1"/>
              <a:gd name="T1" fmla="*/ 180 256 1"/>
              <a:gd name="G3" fmla="+- 11775378 T0 T1"/>
              <a:gd name="T2" fmla="*/ 0 256 1"/>
              <a:gd name="T3" fmla="*/ 90 256 1"/>
              <a:gd name="G4" fmla="+- 11775378 T2 T3"/>
              <a:gd name="G5" fmla="*/ G4 2 1"/>
              <a:gd name="T4" fmla="*/ 90 256 1"/>
              <a:gd name="T5" fmla="*/ 0 256 1"/>
              <a:gd name="G6" fmla="+- 11775378 T4 T5"/>
              <a:gd name="G7" fmla="*/ G6 2 1"/>
              <a:gd name="G8" fmla="abs 11775378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6050"/>
              <a:gd name="G18" fmla="*/ 6050 1 2"/>
              <a:gd name="G19" fmla="+- G18 5400 0"/>
              <a:gd name="G20" fmla="cos G19 11775378"/>
              <a:gd name="G21" fmla="sin G19 11775378"/>
              <a:gd name="G22" fmla="+- G20 10800 0"/>
              <a:gd name="G23" fmla="+- G21 10800 0"/>
              <a:gd name="G24" fmla="+- 10800 0 G20"/>
              <a:gd name="G25" fmla="+- 6050 10800 0"/>
              <a:gd name="G26" fmla="?: G9 G17 G25"/>
              <a:gd name="G27" fmla="?: G9 0 21600"/>
              <a:gd name="G28" fmla="cos 10800 11775378"/>
              <a:gd name="G29" fmla="sin 10800 11775378"/>
              <a:gd name="G30" fmla="sin 6050 11775378"/>
              <a:gd name="G31" fmla="+- G28 10800 0"/>
              <a:gd name="G32" fmla="+- G29 10800 0"/>
              <a:gd name="G33" fmla="+- G30 10800 0"/>
              <a:gd name="G34" fmla="?: G4 0 G31"/>
              <a:gd name="G35" fmla="?: 11775378 G34 0"/>
              <a:gd name="G36" fmla="?: G6 G35 G31"/>
              <a:gd name="G37" fmla="+- 21600 0 G36"/>
              <a:gd name="G38" fmla="?: G4 0 G33"/>
              <a:gd name="G39" fmla="?: 11775378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2375 w 21600"/>
              <a:gd name="T15" fmla="*/ 10847 h 21600"/>
              <a:gd name="T16" fmla="*/ 10800 w 21600"/>
              <a:gd name="T17" fmla="*/ 4750 h 21600"/>
              <a:gd name="T18" fmla="*/ 19225 w 21600"/>
              <a:gd name="T19" fmla="*/ 10847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4750" y="10833"/>
                </a:moveTo>
                <a:cubicBezTo>
                  <a:pt x="4750" y="10822"/>
                  <a:pt x="4750" y="10811"/>
                  <a:pt x="4750" y="10800"/>
                </a:cubicBezTo>
                <a:cubicBezTo>
                  <a:pt x="4750" y="7458"/>
                  <a:pt x="7458" y="4750"/>
                  <a:pt x="10800" y="4750"/>
                </a:cubicBezTo>
                <a:cubicBezTo>
                  <a:pt x="14141" y="4750"/>
                  <a:pt x="16850" y="7458"/>
                  <a:pt x="16850" y="10800"/>
                </a:cubicBezTo>
                <a:cubicBezTo>
                  <a:pt x="16850" y="10811"/>
                  <a:pt x="16849" y="10822"/>
                  <a:pt x="16849" y="10833"/>
                </a:cubicBezTo>
                <a:lnTo>
                  <a:pt x="21599" y="10860"/>
                </a:lnTo>
                <a:cubicBezTo>
                  <a:pt x="21599" y="10840"/>
                  <a:pt x="21600" y="10820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0820"/>
                  <a:pt x="0" y="10840"/>
                  <a:pt x="0" y="10860"/>
                </a:cubicBezTo>
                <a:close/>
              </a:path>
            </a:pathLst>
          </a:custGeom>
          <a:gradFill rotWithShape="1">
            <a:gsLst>
              <a:gs pos="0">
                <a:srgbClr val="6ED896"/>
              </a:gs>
              <a:gs pos="100000">
                <a:srgbClr val="6ED896">
                  <a:gamma/>
                  <a:tint val="63529"/>
                  <a:invGamma/>
                </a:srgbClr>
              </a:gs>
            </a:gsLst>
            <a:path path="rect">
              <a:fillToRect l="100000" t="100000"/>
            </a:path>
          </a:gradFill>
          <a:ln w="28575" algn="ctr">
            <a:solidFill>
              <a:srgbClr val="FFFFFF">
                <a:alpha val="5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ru-RU" kern="0" smtClean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6" name="AutoShape 4"/>
          <p:cNvSpPr>
            <a:spLocks noChangeArrowheads="1"/>
          </p:cNvSpPr>
          <p:nvPr/>
        </p:nvSpPr>
        <p:spPr bwMode="ltGray">
          <a:xfrm>
            <a:off x="1042988" y="3168178"/>
            <a:ext cx="2986087" cy="2717800"/>
          </a:xfrm>
          <a:custGeom>
            <a:avLst/>
            <a:gdLst>
              <a:gd name="G0" fmla="+- 6050 0 0"/>
              <a:gd name="G1" fmla="+- 11775378 0 0"/>
              <a:gd name="G2" fmla="+- 0 0 11775378"/>
              <a:gd name="T0" fmla="*/ 0 256 1"/>
              <a:gd name="T1" fmla="*/ 180 256 1"/>
              <a:gd name="G3" fmla="+- 11775378 T0 T1"/>
              <a:gd name="T2" fmla="*/ 0 256 1"/>
              <a:gd name="T3" fmla="*/ 90 256 1"/>
              <a:gd name="G4" fmla="+- 11775378 T2 T3"/>
              <a:gd name="G5" fmla="*/ G4 2 1"/>
              <a:gd name="T4" fmla="*/ 90 256 1"/>
              <a:gd name="T5" fmla="*/ 0 256 1"/>
              <a:gd name="G6" fmla="+- 11775378 T4 T5"/>
              <a:gd name="G7" fmla="*/ G6 2 1"/>
              <a:gd name="G8" fmla="abs 11775378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6050"/>
              <a:gd name="G18" fmla="*/ 6050 1 2"/>
              <a:gd name="G19" fmla="+- G18 5400 0"/>
              <a:gd name="G20" fmla="cos G19 11775378"/>
              <a:gd name="G21" fmla="sin G19 11775378"/>
              <a:gd name="G22" fmla="+- G20 10800 0"/>
              <a:gd name="G23" fmla="+- G21 10800 0"/>
              <a:gd name="G24" fmla="+- 10800 0 G20"/>
              <a:gd name="G25" fmla="+- 6050 10800 0"/>
              <a:gd name="G26" fmla="?: G9 G17 G25"/>
              <a:gd name="G27" fmla="?: G9 0 21600"/>
              <a:gd name="G28" fmla="cos 10800 11775378"/>
              <a:gd name="G29" fmla="sin 10800 11775378"/>
              <a:gd name="G30" fmla="sin 6050 11775378"/>
              <a:gd name="G31" fmla="+- G28 10800 0"/>
              <a:gd name="G32" fmla="+- G29 10800 0"/>
              <a:gd name="G33" fmla="+- G30 10800 0"/>
              <a:gd name="G34" fmla="?: G4 0 G31"/>
              <a:gd name="G35" fmla="?: 11775378 G34 0"/>
              <a:gd name="G36" fmla="?: G6 G35 G31"/>
              <a:gd name="G37" fmla="+- 21600 0 G36"/>
              <a:gd name="G38" fmla="?: G4 0 G33"/>
              <a:gd name="G39" fmla="?: 11775378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2375 w 21600"/>
              <a:gd name="T15" fmla="*/ 10847 h 21600"/>
              <a:gd name="T16" fmla="*/ 10800 w 21600"/>
              <a:gd name="T17" fmla="*/ 4750 h 21600"/>
              <a:gd name="T18" fmla="*/ 19225 w 21600"/>
              <a:gd name="T19" fmla="*/ 10847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4750" y="10833"/>
                </a:moveTo>
                <a:cubicBezTo>
                  <a:pt x="4750" y="10822"/>
                  <a:pt x="4750" y="10811"/>
                  <a:pt x="4750" y="10800"/>
                </a:cubicBezTo>
                <a:cubicBezTo>
                  <a:pt x="4750" y="7458"/>
                  <a:pt x="7458" y="4750"/>
                  <a:pt x="10800" y="4750"/>
                </a:cubicBezTo>
                <a:cubicBezTo>
                  <a:pt x="14141" y="4750"/>
                  <a:pt x="16850" y="7458"/>
                  <a:pt x="16850" y="10800"/>
                </a:cubicBezTo>
                <a:cubicBezTo>
                  <a:pt x="16850" y="10811"/>
                  <a:pt x="16849" y="10822"/>
                  <a:pt x="16849" y="10833"/>
                </a:cubicBezTo>
                <a:lnTo>
                  <a:pt x="21599" y="10860"/>
                </a:lnTo>
                <a:cubicBezTo>
                  <a:pt x="21599" y="10840"/>
                  <a:pt x="21600" y="10820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0820"/>
                  <a:pt x="0" y="10840"/>
                  <a:pt x="0" y="10860"/>
                </a:cubicBezTo>
                <a:close/>
              </a:path>
            </a:pathLst>
          </a:custGeom>
          <a:gradFill rotWithShape="1">
            <a:gsLst>
              <a:gs pos="0">
                <a:srgbClr val="FEB93C"/>
              </a:gs>
              <a:gs pos="100000">
                <a:srgbClr val="FEB93C">
                  <a:gamma/>
                  <a:tint val="63529"/>
                  <a:invGamma/>
                </a:srgbClr>
              </a:gs>
            </a:gsLst>
            <a:path path="rect">
              <a:fillToRect l="100000" t="100000"/>
            </a:path>
          </a:gradFill>
          <a:ln w="28575" algn="ctr">
            <a:solidFill>
              <a:srgbClr val="FFFFFF">
                <a:alpha val="5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ru-RU" kern="0" smtClean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7" name="AutoShape 5"/>
          <p:cNvSpPr>
            <a:spLocks noChangeArrowheads="1"/>
          </p:cNvSpPr>
          <p:nvPr/>
        </p:nvSpPr>
        <p:spPr bwMode="gray">
          <a:xfrm>
            <a:off x="1381125" y="3592040"/>
            <a:ext cx="2206625" cy="2006600"/>
          </a:xfrm>
          <a:custGeom>
            <a:avLst/>
            <a:gdLst>
              <a:gd name="G0" fmla="+- 6050 0 0"/>
              <a:gd name="G1" fmla="+- 11775378 0 0"/>
              <a:gd name="G2" fmla="+- 0 0 11775378"/>
              <a:gd name="T0" fmla="*/ 0 256 1"/>
              <a:gd name="T1" fmla="*/ 180 256 1"/>
              <a:gd name="G3" fmla="+- 11775378 T0 T1"/>
              <a:gd name="T2" fmla="*/ 0 256 1"/>
              <a:gd name="T3" fmla="*/ 90 256 1"/>
              <a:gd name="G4" fmla="+- 11775378 T2 T3"/>
              <a:gd name="G5" fmla="*/ G4 2 1"/>
              <a:gd name="T4" fmla="*/ 90 256 1"/>
              <a:gd name="T5" fmla="*/ 0 256 1"/>
              <a:gd name="G6" fmla="+- 11775378 T4 T5"/>
              <a:gd name="G7" fmla="*/ G6 2 1"/>
              <a:gd name="G8" fmla="abs 11775378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6050"/>
              <a:gd name="G18" fmla="*/ 6050 1 2"/>
              <a:gd name="G19" fmla="+- G18 5400 0"/>
              <a:gd name="G20" fmla="cos G19 11775378"/>
              <a:gd name="G21" fmla="sin G19 11775378"/>
              <a:gd name="G22" fmla="+- G20 10800 0"/>
              <a:gd name="G23" fmla="+- G21 10800 0"/>
              <a:gd name="G24" fmla="+- 10800 0 G20"/>
              <a:gd name="G25" fmla="+- 6050 10800 0"/>
              <a:gd name="G26" fmla="?: G9 G17 G25"/>
              <a:gd name="G27" fmla="?: G9 0 21600"/>
              <a:gd name="G28" fmla="cos 10800 11775378"/>
              <a:gd name="G29" fmla="sin 10800 11775378"/>
              <a:gd name="G30" fmla="sin 6050 11775378"/>
              <a:gd name="G31" fmla="+- G28 10800 0"/>
              <a:gd name="G32" fmla="+- G29 10800 0"/>
              <a:gd name="G33" fmla="+- G30 10800 0"/>
              <a:gd name="G34" fmla="?: G4 0 G31"/>
              <a:gd name="G35" fmla="?: 11775378 G34 0"/>
              <a:gd name="G36" fmla="?: G6 G35 G31"/>
              <a:gd name="G37" fmla="+- 21600 0 G36"/>
              <a:gd name="G38" fmla="?: G4 0 G33"/>
              <a:gd name="G39" fmla="?: 11775378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2375 w 21600"/>
              <a:gd name="T15" fmla="*/ 10847 h 21600"/>
              <a:gd name="T16" fmla="*/ 10800 w 21600"/>
              <a:gd name="T17" fmla="*/ 4750 h 21600"/>
              <a:gd name="T18" fmla="*/ 19225 w 21600"/>
              <a:gd name="T19" fmla="*/ 10847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4750" y="10833"/>
                </a:moveTo>
                <a:cubicBezTo>
                  <a:pt x="4750" y="10822"/>
                  <a:pt x="4750" y="10811"/>
                  <a:pt x="4750" y="10800"/>
                </a:cubicBezTo>
                <a:cubicBezTo>
                  <a:pt x="4750" y="7458"/>
                  <a:pt x="7458" y="4750"/>
                  <a:pt x="10800" y="4750"/>
                </a:cubicBezTo>
                <a:cubicBezTo>
                  <a:pt x="14141" y="4750"/>
                  <a:pt x="16850" y="7458"/>
                  <a:pt x="16850" y="10800"/>
                </a:cubicBezTo>
                <a:cubicBezTo>
                  <a:pt x="16850" y="10811"/>
                  <a:pt x="16849" y="10822"/>
                  <a:pt x="16849" y="10833"/>
                </a:cubicBezTo>
                <a:lnTo>
                  <a:pt x="21599" y="10860"/>
                </a:lnTo>
                <a:cubicBezTo>
                  <a:pt x="21599" y="10840"/>
                  <a:pt x="21600" y="10820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0820"/>
                  <a:pt x="0" y="10840"/>
                  <a:pt x="0" y="10860"/>
                </a:cubicBezTo>
                <a:close/>
              </a:path>
            </a:pathLst>
          </a:custGeom>
          <a:gradFill rotWithShape="1">
            <a:gsLst>
              <a:gs pos="0">
                <a:srgbClr val="699EF3"/>
              </a:gs>
              <a:gs pos="100000">
                <a:srgbClr val="699EF3">
                  <a:gamma/>
                  <a:tint val="63529"/>
                  <a:invGamma/>
                </a:srgbClr>
              </a:gs>
            </a:gsLst>
            <a:path path="rect">
              <a:fillToRect l="100000" t="100000"/>
            </a:path>
          </a:gradFill>
          <a:ln w="28575" algn="ctr">
            <a:solidFill>
              <a:srgbClr val="FFFFFF">
                <a:alpha val="5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ru-RU" kern="0" smtClean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8" name="AutoShape 6"/>
          <p:cNvSpPr>
            <a:spLocks noChangeArrowheads="1"/>
          </p:cNvSpPr>
          <p:nvPr/>
        </p:nvSpPr>
        <p:spPr bwMode="gray">
          <a:xfrm>
            <a:off x="1665288" y="3931765"/>
            <a:ext cx="1592262" cy="1446213"/>
          </a:xfrm>
          <a:custGeom>
            <a:avLst/>
            <a:gdLst>
              <a:gd name="G0" fmla="+- 6050 0 0"/>
              <a:gd name="G1" fmla="+- 11775378 0 0"/>
              <a:gd name="G2" fmla="+- 0 0 11775378"/>
              <a:gd name="T0" fmla="*/ 0 256 1"/>
              <a:gd name="T1" fmla="*/ 180 256 1"/>
              <a:gd name="G3" fmla="+- 11775378 T0 T1"/>
              <a:gd name="T2" fmla="*/ 0 256 1"/>
              <a:gd name="T3" fmla="*/ 90 256 1"/>
              <a:gd name="G4" fmla="+- 11775378 T2 T3"/>
              <a:gd name="G5" fmla="*/ G4 2 1"/>
              <a:gd name="T4" fmla="*/ 90 256 1"/>
              <a:gd name="T5" fmla="*/ 0 256 1"/>
              <a:gd name="G6" fmla="+- 11775378 T4 T5"/>
              <a:gd name="G7" fmla="*/ G6 2 1"/>
              <a:gd name="G8" fmla="abs 11775378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6050"/>
              <a:gd name="G18" fmla="*/ 6050 1 2"/>
              <a:gd name="G19" fmla="+- G18 5400 0"/>
              <a:gd name="G20" fmla="cos G19 11775378"/>
              <a:gd name="G21" fmla="sin G19 11775378"/>
              <a:gd name="G22" fmla="+- G20 10800 0"/>
              <a:gd name="G23" fmla="+- G21 10800 0"/>
              <a:gd name="G24" fmla="+- 10800 0 G20"/>
              <a:gd name="G25" fmla="+- 6050 10800 0"/>
              <a:gd name="G26" fmla="?: G9 G17 G25"/>
              <a:gd name="G27" fmla="?: G9 0 21600"/>
              <a:gd name="G28" fmla="cos 10800 11775378"/>
              <a:gd name="G29" fmla="sin 10800 11775378"/>
              <a:gd name="G30" fmla="sin 6050 11775378"/>
              <a:gd name="G31" fmla="+- G28 10800 0"/>
              <a:gd name="G32" fmla="+- G29 10800 0"/>
              <a:gd name="G33" fmla="+- G30 10800 0"/>
              <a:gd name="G34" fmla="?: G4 0 G31"/>
              <a:gd name="G35" fmla="?: 11775378 G34 0"/>
              <a:gd name="G36" fmla="?: G6 G35 G31"/>
              <a:gd name="G37" fmla="+- 21600 0 G36"/>
              <a:gd name="G38" fmla="?: G4 0 G33"/>
              <a:gd name="G39" fmla="?: 11775378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2375 w 21600"/>
              <a:gd name="T15" fmla="*/ 10847 h 21600"/>
              <a:gd name="T16" fmla="*/ 10800 w 21600"/>
              <a:gd name="T17" fmla="*/ 4750 h 21600"/>
              <a:gd name="T18" fmla="*/ 19225 w 21600"/>
              <a:gd name="T19" fmla="*/ 10847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4750" y="10833"/>
                </a:moveTo>
                <a:cubicBezTo>
                  <a:pt x="4750" y="10822"/>
                  <a:pt x="4750" y="10811"/>
                  <a:pt x="4750" y="10800"/>
                </a:cubicBezTo>
                <a:cubicBezTo>
                  <a:pt x="4750" y="7458"/>
                  <a:pt x="7458" y="4750"/>
                  <a:pt x="10800" y="4750"/>
                </a:cubicBezTo>
                <a:cubicBezTo>
                  <a:pt x="14141" y="4750"/>
                  <a:pt x="16850" y="7458"/>
                  <a:pt x="16850" y="10800"/>
                </a:cubicBezTo>
                <a:cubicBezTo>
                  <a:pt x="16850" y="10811"/>
                  <a:pt x="16849" y="10822"/>
                  <a:pt x="16849" y="10833"/>
                </a:cubicBezTo>
                <a:lnTo>
                  <a:pt x="21599" y="10860"/>
                </a:lnTo>
                <a:cubicBezTo>
                  <a:pt x="21599" y="10840"/>
                  <a:pt x="21600" y="10820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0820"/>
                  <a:pt x="0" y="10840"/>
                  <a:pt x="0" y="10860"/>
                </a:cubicBezTo>
                <a:close/>
              </a:path>
            </a:pathLst>
          </a:custGeom>
          <a:gradFill rotWithShape="1">
            <a:gsLst>
              <a:gs pos="0">
                <a:srgbClr val="E466B7"/>
              </a:gs>
              <a:gs pos="100000">
                <a:srgbClr val="E466B7">
                  <a:gamma/>
                  <a:tint val="63529"/>
                  <a:invGamma/>
                </a:srgbClr>
              </a:gs>
            </a:gsLst>
            <a:path path="rect">
              <a:fillToRect l="100000" t="100000"/>
            </a:path>
          </a:gradFill>
          <a:ln w="28575" algn="ctr">
            <a:solidFill>
              <a:srgbClr val="FFFFFF">
                <a:alpha val="50000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ru-RU" kern="0" smtClean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9" name="AutoShape 7"/>
          <p:cNvSpPr>
            <a:spLocks/>
          </p:cNvSpPr>
          <p:nvPr/>
        </p:nvSpPr>
        <p:spPr bwMode="auto">
          <a:xfrm>
            <a:off x="5121275" y="4014315"/>
            <a:ext cx="3565525" cy="536575"/>
          </a:xfrm>
          <a:prstGeom prst="accentCallout2">
            <a:avLst>
              <a:gd name="adj1" fmla="val 21301"/>
              <a:gd name="adj2" fmla="val -2139"/>
              <a:gd name="adj3" fmla="val 21301"/>
              <a:gd name="adj4" fmla="val -9616"/>
              <a:gd name="adj5" fmla="val 104440"/>
              <a:gd name="adj6" fmla="val -56991"/>
            </a:avLst>
          </a:prstGeom>
          <a:noFill/>
          <a:ln w="9525">
            <a:solidFill>
              <a:srgbClr val="1C1C1C"/>
            </a:solidFill>
            <a:miter lim="800000"/>
            <a:headEnd type="diamond" w="med" len="med"/>
            <a:tailEnd type="diamond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285750" indent="-285750" eaLnBrk="0" hangingPunct="0">
              <a:buFontTx/>
              <a:buChar char="-"/>
              <a:defRPr/>
            </a:pPr>
            <a:r>
              <a:rPr lang="ru-RU" altLang="ru-RU" sz="1400" kern="0" dirty="0" err="1" smtClean="0">
                <a:solidFill>
                  <a:srgbClr val="1C1C1C"/>
                </a:solidFill>
                <a:latin typeface="Arial"/>
                <a:cs typeface="+mn-cs"/>
              </a:rPr>
              <a:t>Кайзен</a:t>
            </a:r>
            <a:endParaRPr lang="ru-RU" altLang="ru-RU" sz="1400" kern="0" dirty="0" smtClean="0">
              <a:solidFill>
                <a:srgbClr val="1C1C1C"/>
              </a:solidFill>
              <a:latin typeface="Arial"/>
              <a:cs typeface="+mn-cs"/>
            </a:endParaRPr>
          </a:p>
          <a:p>
            <a:pPr marL="285750" indent="-285750" eaLnBrk="0" hangingPunct="0">
              <a:buFontTx/>
              <a:buChar char="-"/>
              <a:defRPr/>
            </a:pP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Культура производства (5С)</a:t>
            </a:r>
          </a:p>
          <a:p>
            <a:pPr marL="285750" indent="-285750" eaLnBrk="0" hangingPunct="0">
              <a:buFontTx/>
              <a:buChar char="-"/>
              <a:defRPr/>
            </a:pP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Визуальный менеджмент</a:t>
            </a:r>
            <a:endParaRPr lang="en-US" altLang="ru-RU" sz="1400" kern="0" dirty="0" smtClean="0">
              <a:solidFill>
                <a:srgbClr val="1C1C1C"/>
              </a:solidFill>
              <a:latin typeface="Arial"/>
              <a:cs typeface="+mn-cs"/>
            </a:endParaRPr>
          </a:p>
        </p:txBody>
      </p:sp>
      <p:sp>
        <p:nvSpPr>
          <p:cNvPr id="40" name="AutoShape 8"/>
          <p:cNvSpPr>
            <a:spLocks/>
          </p:cNvSpPr>
          <p:nvPr/>
        </p:nvSpPr>
        <p:spPr bwMode="gray">
          <a:xfrm>
            <a:off x="4783138" y="3204690"/>
            <a:ext cx="3849687" cy="538163"/>
          </a:xfrm>
          <a:prstGeom prst="accentCallout2">
            <a:avLst>
              <a:gd name="adj1" fmla="val 21241"/>
              <a:gd name="adj2" fmla="val -1981"/>
              <a:gd name="adj3" fmla="val 21241"/>
              <a:gd name="adj4" fmla="val -10681"/>
              <a:gd name="adj5" fmla="val 148968"/>
              <a:gd name="adj6" fmla="val -45403"/>
            </a:avLst>
          </a:prstGeom>
          <a:noFill/>
          <a:ln w="9525">
            <a:solidFill>
              <a:srgbClr val="1C1C1C"/>
            </a:solidFill>
            <a:miter lim="800000"/>
            <a:headEnd type="diamond" w="med" len="med"/>
            <a:tailEnd type="diamond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285750" indent="-285750" eaLnBrk="0" hangingPunct="0">
              <a:buFontTx/>
              <a:buChar char="-"/>
              <a:defRPr/>
            </a:pPr>
            <a:r>
              <a:rPr lang="ru-RU" altLang="ru-RU" sz="1400" kern="0" dirty="0" err="1" smtClean="0">
                <a:solidFill>
                  <a:srgbClr val="1C1C1C"/>
                </a:solidFill>
                <a:latin typeface="Arial"/>
                <a:cs typeface="+mn-cs"/>
              </a:rPr>
              <a:t>Хосин-Канри</a:t>
            </a:r>
            <a:endParaRPr lang="ru-RU" altLang="ru-RU" sz="1400" kern="0" dirty="0" smtClean="0">
              <a:solidFill>
                <a:srgbClr val="1C1C1C"/>
              </a:solidFill>
              <a:latin typeface="Arial"/>
              <a:cs typeface="+mn-cs"/>
            </a:endParaRPr>
          </a:p>
          <a:p>
            <a:pPr marL="285750" indent="-285750" eaLnBrk="0" hangingPunct="0">
              <a:buFontTx/>
              <a:buChar char="-"/>
              <a:defRPr/>
            </a:pP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Лидерство</a:t>
            </a:r>
          </a:p>
          <a:p>
            <a:pPr marL="285750" indent="-285750" eaLnBrk="0" hangingPunct="0">
              <a:buFontTx/>
              <a:buChar char="-"/>
              <a:defRPr/>
            </a:pP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Управляющий комитет по РПС</a:t>
            </a:r>
            <a:endParaRPr lang="en-US" altLang="ru-RU" sz="1400" kern="0" dirty="0" smtClean="0">
              <a:solidFill>
                <a:srgbClr val="1C1C1C"/>
              </a:solidFill>
              <a:latin typeface="Arial"/>
              <a:cs typeface="+mn-cs"/>
            </a:endParaRPr>
          </a:p>
        </p:txBody>
      </p:sp>
      <p:sp>
        <p:nvSpPr>
          <p:cNvPr id="41" name="AutoShape 9"/>
          <p:cNvSpPr>
            <a:spLocks/>
          </p:cNvSpPr>
          <p:nvPr/>
        </p:nvSpPr>
        <p:spPr bwMode="gray">
          <a:xfrm>
            <a:off x="4256785" y="2229450"/>
            <a:ext cx="3835400" cy="536575"/>
          </a:xfrm>
          <a:prstGeom prst="accentCallout2">
            <a:avLst>
              <a:gd name="adj1" fmla="val 21301"/>
              <a:gd name="adj2" fmla="val -1986"/>
              <a:gd name="adj3" fmla="val 21301"/>
              <a:gd name="adj4" fmla="val -11630"/>
              <a:gd name="adj5" fmla="val 211829"/>
              <a:gd name="adj6" fmla="val -33944"/>
            </a:avLst>
          </a:prstGeom>
          <a:noFill/>
          <a:ln w="9525">
            <a:solidFill>
              <a:srgbClr val="1C1C1C"/>
            </a:solidFill>
            <a:miter lim="800000"/>
            <a:headEnd type="diamond" w="med" len="med"/>
            <a:tailEnd type="diamond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285750" indent="-285750" eaLnBrk="0" hangingPunct="0">
              <a:buFontTx/>
              <a:buChar char="-"/>
              <a:defRPr/>
            </a:pP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Обучение действием (</a:t>
            </a:r>
            <a:r>
              <a:rPr lang="en-US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TWI</a:t>
            </a: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)</a:t>
            </a:r>
          </a:p>
          <a:p>
            <a:pPr marL="285750" indent="-285750" eaLnBrk="0" hangingPunct="0">
              <a:buFontTx/>
              <a:buChar char="-"/>
              <a:defRPr/>
            </a:pP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Стандартизированная работа</a:t>
            </a:r>
          </a:p>
          <a:p>
            <a:pPr marL="285750" indent="-285750" eaLnBrk="0" hangingPunct="0">
              <a:buFontTx/>
              <a:buChar char="-"/>
              <a:defRPr/>
            </a:pP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Картирование потоков</a:t>
            </a:r>
          </a:p>
          <a:p>
            <a:pPr marL="285750" indent="-285750" eaLnBrk="0" hangingPunct="0">
              <a:buFontTx/>
              <a:buChar char="-"/>
              <a:defRPr/>
            </a:pP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Инструменты решения проблем</a:t>
            </a:r>
            <a:endParaRPr lang="en-US" altLang="ru-RU" sz="1400" kern="0" dirty="0" smtClean="0">
              <a:solidFill>
                <a:srgbClr val="1C1C1C"/>
              </a:solidFill>
              <a:latin typeface="Arial"/>
              <a:cs typeface="+mn-cs"/>
            </a:endParaRPr>
          </a:p>
        </p:txBody>
      </p:sp>
      <p:sp>
        <p:nvSpPr>
          <p:cNvPr id="42" name="AutoShape 10"/>
          <p:cNvSpPr>
            <a:spLocks/>
          </p:cNvSpPr>
          <p:nvPr/>
        </p:nvSpPr>
        <p:spPr bwMode="auto">
          <a:xfrm>
            <a:off x="3587750" y="1400733"/>
            <a:ext cx="5173471" cy="536575"/>
          </a:xfrm>
          <a:prstGeom prst="accentCallout2">
            <a:avLst>
              <a:gd name="adj1" fmla="val 21301"/>
              <a:gd name="adj2" fmla="val -1995"/>
              <a:gd name="adj3" fmla="val 21301"/>
              <a:gd name="adj4" fmla="val -11736"/>
              <a:gd name="adj5" fmla="val 261536"/>
              <a:gd name="adj6" fmla="val -24796"/>
            </a:avLst>
          </a:prstGeom>
          <a:noFill/>
          <a:ln w="9525">
            <a:solidFill>
              <a:srgbClr val="1C1C1C"/>
            </a:solidFill>
            <a:miter lim="800000"/>
            <a:headEnd type="diamond" w="med" len="med"/>
            <a:tailEnd type="diamond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285750" indent="-285750" eaLnBrk="0" hangingPunct="0">
              <a:buFontTx/>
              <a:buChar char="-"/>
              <a:defRPr/>
            </a:pP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ТРМ, </a:t>
            </a:r>
            <a:r>
              <a:rPr lang="en-US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SMED</a:t>
            </a: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,</a:t>
            </a:r>
            <a:r>
              <a:rPr lang="en-US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 OEE</a:t>
            </a:r>
            <a:endParaRPr lang="ru-RU" altLang="ru-RU" sz="1400" kern="0" dirty="0" smtClean="0">
              <a:solidFill>
                <a:srgbClr val="1C1C1C"/>
              </a:solidFill>
              <a:latin typeface="Arial"/>
              <a:cs typeface="+mn-cs"/>
            </a:endParaRPr>
          </a:p>
          <a:p>
            <a:pPr marL="285750" indent="-285750" eaLnBrk="0" hangingPunct="0">
              <a:buFontTx/>
              <a:buChar char="-"/>
              <a:defRPr/>
            </a:pP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Точно во время – </a:t>
            </a:r>
            <a:r>
              <a:rPr lang="en-US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JIT</a:t>
            </a: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 (</a:t>
            </a:r>
            <a:r>
              <a:rPr lang="ru-RU" altLang="ru-RU" sz="1400" kern="0" dirty="0" err="1" smtClean="0">
                <a:solidFill>
                  <a:srgbClr val="1C1C1C"/>
                </a:solidFill>
                <a:latin typeface="Arial"/>
                <a:cs typeface="+mn-cs"/>
              </a:rPr>
              <a:t>канбан</a:t>
            </a: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, супермаркеты, логистика)</a:t>
            </a:r>
          </a:p>
          <a:p>
            <a:pPr marL="285750" indent="-285750" eaLnBrk="0" hangingPunct="0">
              <a:buFontTx/>
              <a:buChar char="-"/>
              <a:defRPr/>
            </a:pP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Организация потока и ТОС</a:t>
            </a:r>
            <a:endParaRPr lang="en-US" altLang="ru-RU" sz="1400" kern="0" dirty="0" smtClean="0">
              <a:solidFill>
                <a:srgbClr val="1C1C1C"/>
              </a:solidFill>
              <a:latin typeface="Arial"/>
              <a:cs typeface="+mn-cs"/>
            </a:endParaRPr>
          </a:p>
        </p:txBody>
      </p:sp>
      <p:sp>
        <p:nvSpPr>
          <p:cNvPr id="43" name="AutoShape 11"/>
          <p:cNvSpPr>
            <a:spLocks noChangeArrowheads="1"/>
          </p:cNvSpPr>
          <p:nvPr/>
        </p:nvSpPr>
        <p:spPr bwMode="gray">
          <a:xfrm>
            <a:off x="6092825" y="4790603"/>
            <a:ext cx="2032000" cy="768350"/>
          </a:xfrm>
          <a:prstGeom prst="chevron">
            <a:avLst>
              <a:gd name="adj" fmla="val 34539"/>
            </a:avLst>
          </a:prstGeom>
          <a:gradFill rotWithShape="1">
            <a:gsLst>
              <a:gs pos="0">
                <a:srgbClr val="6ED896"/>
              </a:gs>
              <a:gs pos="100000">
                <a:srgbClr val="6ED896">
                  <a:gamma/>
                  <a:tint val="39216"/>
                  <a:invGamma/>
                </a:srgbClr>
              </a:gs>
            </a:gsLst>
            <a:lin ang="0" scaled="1"/>
          </a:gradFill>
          <a:ln>
            <a:noFill/>
          </a:ln>
          <a:effectLst/>
          <a:scene3d>
            <a:camera prst="legacyObliqueBottom"/>
            <a:lightRig rig="legacyFlat3" dir="b"/>
          </a:scene3d>
          <a:sp3d extrusionH="100000" prstMaterial="legacyMatte">
            <a:bevelT w="13500" h="13500" prst="angle"/>
            <a:bevelB w="13500" h="13500" prst="angle"/>
            <a:extrusionClr>
              <a:srgbClr val="6ED896"/>
            </a:extrusionClr>
            <a:contourClr>
              <a:srgbClr val="6ED896"/>
            </a:contourClr>
          </a:sp3d>
          <a:extLst>
            <a:ext uri="{91240B29-F687-4F45-9708-019B960494DF}">
              <a14:hiddenLine xmlns:a14="http://schemas.microsoft.com/office/drawing/2010/main" w="9525" algn="ctr">
                <a:noFill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>
              <a:defRPr/>
            </a:pPr>
            <a:endParaRPr lang="ru-RU" kern="0" smtClean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4" name="AutoShape 12"/>
          <p:cNvSpPr>
            <a:spLocks noChangeArrowheads="1"/>
          </p:cNvSpPr>
          <p:nvPr/>
        </p:nvSpPr>
        <p:spPr bwMode="gray">
          <a:xfrm>
            <a:off x="4268788" y="4785840"/>
            <a:ext cx="2049462" cy="768350"/>
          </a:xfrm>
          <a:prstGeom prst="chevron">
            <a:avLst>
              <a:gd name="adj" fmla="val 35083"/>
            </a:avLst>
          </a:prstGeom>
          <a:gradFill rotWithShape="1">
            <a:gsLst>
              <a:gs pos="0">
                <a:srgbClr val="FEB93C"/>
              </a:gs>
              <a:gs pos="100000">
                <a:srgbClr val="FEB93C">
                  <a:gamma/>
                  <a:tint val="39216"/>
                  <a:invGamma/>
                </a:srgbClr>
              </a:gs>
            </a:gsLst>
            <a:lin ang="0" scaled="1"/>
          </a:gradFill>
          <a:ln>
            <a:noFill/>
          </a:ln>
          <a:effectLst/>
          <a:scene3d>
            <a:camera prst="legacyObliqueBottom"/>
            <a:lightRig rig="legacyFlat3" dir="b"/>
          </a:scene3d>
          <a:sp3d extrusionH="100000" prstMaterial="legacyMatte">
            <a:bevelT w="13500" h="13500" prst="angle"/>
            <a:bevelB w="13500" h="13500" prst="angle"/>
            <a:extrusionClr>
              <a:srgbClr val="FEB93C"/>
            </a:extrusionClr>
            <a:contourClr>
              <a:srgbClr val="FEB93C"/>
            </a:contourClr>
          </a:sp3d>
          <a:extLst>
            <a:ext uri="{91240B29-F687-4F45-9708-019B960494DF}">
              <a14:hiddenLine xmlns:a14="http://schemas.microsoft.com/office/drawing/2010/main" w="9525" algn="ctr">
                <a:noFill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>
              <a:defRPr/>
            </a:pPr>
            <a:endParaRPr lang="ru-RU" kern="0" smtClean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5" name="AutoShape 13"/>
          <p:cNvSpPr>
            <a:spLocks noChangeArrowheads="1"/>
          </p:cNvSpPr>
          <p:nvPr/>
        </p:nvSpPr>
        <p:spPr bwMode="gray">
          <a:xfrm>
            <a:off x="2486025" y="4779490"/>
            <a:ext cx="1997075" cy="768350"/>
          </a:xfrm>
          <a:prstGeom prst="chevron">
            <a:avLst>
              <a:gd name="adj" fmla="val 33308"/>
            </a:avLst>
          </a:prstGeom>
          <a:gradFill rotWithShape="1">
            <a:gsLst>
              <a:gs pos="0">
                <a:srgbClr val="699EF3"/>
              </a:gs>
              <a:gs pos="100000">
                <a:srgbClr val="699EF3">
                  <a:gamma/>
                  <a:tint val="39216"/>
                  <a:invGamma/>
                </a:srgbClr>
              </a:gs>
            </a:gsLst>
            <a:lin ang="0" scaled="1"/>
          </a:gradFill>
          <a:ln>
            <a:noFill/>
          </a:ln>
          <a:effectLst/>
          <a:scene3d>
            <a:camera prst="legacyObliqueBottom"/>
            <a:lightRig rig="legacyFlat3" dir="b"/>
          </a:scene3d>
          <a:sp3d extrusionH="100000" prstMaterial="legacyMatte">
            <a:bevelT w="13500" h="13500" prst="angle"/>
            <a:bevelB w="13500" h="13500" prst="angle"/>
            <a:extrusionClr>
              <a:srgbClr val="699EF3"/>
            </a:extrusionClr>
            <a:contourClr>
              <a:srgbClr val="699EF3"/>
            </a:contourClr>
          </a:sp3d>
          <a:extLst>
            <a:ext uri="{91240B29-F687-4F45-9708-019B960494DF}">
              <a14:hiddenLine xmlns:a14="http://schemas.microsoft.com/office/drawing/2010/main" w="9525" algn="ctr">
                <a:noFill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>
              <a:defRPr/>
            </a:pPr>
            <a:endParaRPr lang="ru-RU" kern="0" smtClean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6" name="AutoShape 14"/>
          <p:cNvSpPr>
            <a:spLocks noChangeArrowheads="1"/>
          </p:cNvSpPr>
          <p:nvPr/>
        </p:nvSpPr>
        <p:spPr bwMode="gray">
          <a:xfrm>
            <a:off x="631825" y="4779490"/>
            <a:ext cx="2051050" cy="768350"/>
          </a:xfrm>
          <a:prstGeom prst="chevron">
            <a:avLst>
              <a:gd name="adj" fmla="val 33467"/>
            </a:avLst>
          </a:prstGeom>
          <a:gradFill rotWithShape="1">
            <a:gsLst>
              <a:gs pos="0">
                <a:srgbClr val="E466B7"/>
              </a:gs>
              <a:gs pos="100000">
                <a:srgbClr val="E466B7">
                  <a:gamma/>
                  <a:tint val="39216"/>
                  <a:invGamma/>
                </a:srgbClr>
              </a:gs>
            </a:gsLst>
            <a:lin ang="0" scaled="1"/>
          </a:gradFill>
          <a:ln>
            <a:noFill/>
          </a:ln>
          <a:effectLst/>
          <a:scene3d>
            <a:camera prst="legacyObliqueBottom"/>
            <a:lightRig rig="legacyFlat3" dir="b"/>
          </a:scene3d>
          <a:sp3d extrusionH="100000" prstMaterial="legacyMatte">
            <a:bevelT w="13500" h="13500" prst="angle"/>
            <a:bevelB w="13500" h="13500" prst="angle"/>
            <a:extrusionClr>
              <a:srgbClr val="E466B7"/>
            </a:extrusionClr>
            <a:contourClr>
              <a:srgbClr val="E466B7"/>
            </a:contourClr>
          </a:sp3d>
          <a:extLst>
            <a:ext uri="{91240B29-F687-4F45-9708-019B960494DF}">
              <a14:hiddenLine xmlns:a14="http://schemas.microsoft.com/office/drawing/2010/main" w="9525" algn="ctr">
                <a:noFill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pPr>
              <a:defRPr/>
            </a:pPr>
            <a:endParaRPr lang="ru-RU" kern="0" smtClean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7" name="Text Box 15"/>
          <p:cNvSpPr txBox="1">
            <a:spLocks noChangeArrowheads="1"/>
          </p:cNvSpPr>
          <p:nvPr/>
        </p:nvSpPr>
        <p:spPr bwMode="gray">
          <a:xfrm>
            <a:off x="1057589" y="5016126"/>
            <a:ext cx="121539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tint val="54510"/>
                        <a:invGamma/>
                      </a:schemeClr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ru-RU" altLang="ru-RU" sz="1400" b="1" kern="0" dirty="0" smtClean="0">
                <a:solidFill>
                  <a:srgbClr val="000000"/>
                </a:solidFill>
                <a:latin typeface="Arial"/>
                <a:cs typeface="+mn-cs"/>
              </a:rPr>
              <a:t>Основы БП</a:t>
            </a:r>
            <a:endParaRPr lang="en-US" altLang="ru-RU" sz="1400" b="1" kern="0" dirty="0" smtClean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8" name="Text Box 16"/>
          <p:cNvSpPr txBox="1">
            <a:spLocks noChangeArrowheads="1"/>
          </p:cNvSpPr>
          <p:nvPr/>
        </p:nvSpPr>
        <p:spPr bwMode="gray">
          <a:xfrm>
            <a:off x="3034547" y="5016598"/>
            <a:ext cx="85792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tint val="54510"/>
                        <a:invGamma/>
                      </a:schemeClr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ru-RU" altLang="ru-RU" sz="1400" b="1" kern="0" dirty="0" smtClean="0">
                <a:solidFill>
                  <a:srgbClr val="000000"/>
                </a:solidFill>
                <a:latin typeface="Arial"/>
                <a:cs typeface="+mn-cs"/>
              </a:rPr>
              <a:t>Миссия</a:t>
            </a:r>
            <a:endParaRPr lang="en-US" altLang="ru-RU" sz="1400" b="1" kern="0" dirty="0" smtClean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9" name="Text Box 17"/>
          <p:cNvSpPr txBox="1">
            <a:spLocks noChangeArrowheads="1"/>
          </p:cNvSpPr>
          <p:nvPr/>
        </p:nvSpPr>
        <p:spPr bwMode="gray">
          <a:xfrm>
            <a:off x="4543425" y="5025553"/>
            <a:ext cx="171232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tint val="54510"/>
                        <a:invGamma/>
                      </a:schemeClr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ru-RU" altLang="ru-RU" sz="1400" b="1" kern="0" dirty="0" smtClean="0">
                <a:solidFill>
                  <a:srgbClr val="000000"/>
                </a:solidFill>
                <a:latin typeface="Arial"/>
                <a:cs typeface="+mn-cs"/>
              </a:rPr>
              <a:t>Инструменты БП</a:t>
            </a:r>
            <a:endParaRPr lang="en-US" altLang="ru-RU" sz="1400" b="1" kern="0" dirty="0" smtClean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0" name="Text Box 18"/>
          <p:cNvSpPr txBox="1">
            <a:spLocks noChangeArrowheads="1"/>
          </p:cNvSpPr>
          <p:nvPr/>
        </p:nvSpPr>
        <p:spPr bwMode="gray">
          <a:xfrm>
            <a:off x="6372225" y="5025553"/>
            <a:ext cx="130837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tint val="54510"/>
                        <a:invGamma/>
                      </a:schemeClr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ru-RU" altLang="ru-RU" sz="1400" b="1" kern="0" dirty="0" smtClean="0">
                <a:solidFill>
                  <a:srgbClr val="000000"/>
                </a:solidFill>
                <a:latin typeface="Arial"/>
                <a:cs typeface="+mn-cs"/>
              </a:rPr>
              <a:t>Системы БП</a:t>
            </a:r>
            <a:endParaRPr lang="en-US" altLang="ru-RU" sz="1400" b="1" kern="0" dirty="0" smtClean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1" name="Номер слайда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C78C5E-6FB5-4568-AE58-C32DC4E15573}" type="slidenum">
              <a:rPr lang="en-US" altLang="ru-RU" smtClean="0">
                <a:solidFill>
                  <a:srgbClr val="000000"/>
                </a:solidFill>
              </a:rPr>
              <a:pPr/>
              <a:t>13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423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>Механическое производство</a:t>
            </a:r>
            <a:endParaRPr lang="ru-RU" sz="28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184" y="6190018"/>
            <a:ext cx="1728544" cy="521975"/>
          </a:xfrm>
          <a:prstGeom prst="rect">
            <a:avLst/>
          </a:prstGeom>
        </p:spPr>
      </p:pic>
      <p:sp>
        <p:nvSpPr>
          <p:cNvPr id="6" name="Нашивка 5"/>
          <p:cNvSpPr/>
          <p:nvPr/>
        </p:nvSpPr>
        <p:spPr>
          <a:xfrm>
            <a:off x="6512310" y="1282226"/>
            <a:ext cx="2016224" cy="647197"/>
          </a:xfrm>
          <a:prstGeom prst="chevron">
            <a:avLst/>
          </a:prstGeom>
          <a:solidFill>
            <a:schemeClr val="bg1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Контрольно-испытательная станция (КИС)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sp>
        <p:nvSpPr>
          <p:cNvPr id="7" name="Нашивка 6"/>
          <p:cNvSpPr/>
          <p:nvPr/>
        </p:nvSpPr>
        <p:spPr>
          <a:xfrm>
            <a:off x="4493457" y="1282231"/>
            <a:ext cx="2016224" cy="647197"/>
          </a:xfrm>
          <a:prstGeom prst="chevron">
            <a:avLst/>
          </a:prstGeom>
          <a:solidFill>
            <a:schemeClr val="bg1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Сборочное производство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sp>
        <p:nvSpPr>
          <p:cNvPr id="8" name="Нашивка 7"/>
          <p:cNvSpPr/>
          <p:nvPr/>
        </p:nvSpPr>
        <p:spPr>
          <a:xfrm>
            <a:off x="2468835" y="1282227"/>
            <a:ext cx="2016224" cy="647197"/>
          </a:xfrm>
          <a:prstGeom prst="chevron">
            <a:avLst/>
          </a:prstGeom>
          <a:solidFill>
            <a:schemeClr val="bg1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Отдел </a:t>
            </a:r>
            <a:r>
              <a:rPr lang="ru-RU" sz="1200" kern="0" dirty="0" err="1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микротехнологий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sp>
        <p:nvSpPr>
          <p:cNvPr id="9" name="Нашивка 8"/>
          <p:cNvSpPr/>
          <p:nvPr/>
        </p:nvSpPr>
        <p:spPr>
          <a:xfrm>
            <a:off x="457200" y="1282229"/>
            <a:ext cx="2016224" cy="647197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Механическое производство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68875" y="2232720"/>
            <a:ext cx="7940347" cy="3294869"/>
          </a:xfrm>
          <a:prstGeom prst="roundRect">
            <a:avLst/>
          </a:prstGeom>
          <a:noFill/>
          <a:ln w="28575" cap="flat" cmpd="sng" algn="ctr">
            <a:solidFill>
              <a:srgbClr val="C00000"/>
            </a:solidFill>
            <a:prstDash val="solid"/>
          </a:ln>
          <a:effectLst/>
        </p:spPr>
        <p:txBody>
          <a:bodyPr lIns="72000" r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kern="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Результат: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Повышение пропускной способност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Механического производства </a:t>
            </a:r>
            <a:r>
              <a:rPr lang="ru-RU" sz="1400" b="1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на 69,3%</a:t>
            </a: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.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Повышение уровня комплектности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поставок внутренним заказчикам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(Отдел </a:t>
            </a:r>
            <a:r>
              <a:rPr lang="ru-RU" sz="1400" kern="0" dirty="0" err="1" smtClean="0">
                <a:solidFill>
                  <a:prstClr val="black"/>
                </a:solidFill>
                <a:latin typeface="Calibri"/>
                <a:cs typeface="Arial" pitchFamily="34" charset="0"/>
              </a:rPr>
              <a:t>Микротехнологий</a:t>
            </a: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 и Сборочное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производство)  на </a:t>
            </a:r>
            <a:r>
              <a:rPr lang="ru-RU" sz="1400" b="1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58%</a:t>
            </a: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.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Переработка и запуск обновлённой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Системы планирования производства.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Организация системы учёта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эффективности лимитирующего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оборудования (ОЕЕ).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400" kern="0" dirty="0">
                <a:solidFill>
                  <a:prstClr val="black"/>
                </a:solidFill>
                <a:latin typeface="Calibri"/>
                <a:cs typeface="Arial" pitchFamily="34" charset="0"/>
              </a:rPr>
              <a:t>Улучшение качества (показатель ГКО) </a:t>
            </a:r>
            <a:endParaRPr lang="ru-RU" sz="1400" kern="0" dirty="0" smtClean="0">
              <a:solidFill>
                <a:prstClr val="black"/>
              </a:solidFill>
              <a:latin typeface="Calibri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по МП до 97,2%</a:t>
            </a:r>
            <a:endParaRPr lang="ru-RU" sz="1400" kern="0" dirty="0">
              <a:solidFill>
                <a:prstClr val="black"/>
              </a:solidFill>
              <a:latin typeface="Calibri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kern="0" dirty="0" smtClean="0">
              <a:solidFill>
                <a:prstClr val="black"/>
              </a:solidFill>
              <a:latin typeface="Calibri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kern="0" dirty="0" smtClean="0">
              <a:solidFill>
                <a:prstClr val="black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2" name="Нашивка 11"/>
          <p:cNvSpPr/>
          <p:nvPr/>
        </p:nvSpPr>
        <p:spPr>
          <a:xfrm>
            <a:off x="120184" y="2007996"/>
            <a:ext cx="8753750" cy="104127"/>
          </a:xfrm>
          <a:prstGeom prst="chevron">
            <a:avLst/>
          </a:prstGeom>
          <a:solidFill>
            <a:schemeClr val="bg1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Логистическая система предприятия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253356" y="2430721"/>
            <a:ext cx="4128968" cy="25863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9" name="Прямоугольник 18"/>
          <p:cNvSpPr/>
          <p:nvPr/>
        </p:nvSpPr>
        <p:spPr>
          <a:xfrm>
            <a:off x="568874" y="5496898"/>
            <a:ext cx="811792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ru-RU" altLang="ru-RU" sz="1400" kern="0" dirty="0">
                <a:solidFill>
                  <a:srgbClr val="1C1C1C"/>
                </a:solidFill>
                <a:latin typeface="Arial"/>
                <a:cs typeface="+mn-cs"/>
              </a:rPr>
              <a:t>Среднее сокращение норматива на выполнение операции при организации ячеек и проведении работ по </a:t>
            </a: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стандартизации – 40%.</a:t>
            </a:r>
          </a:p>
          <a:p>
            <a:pPr eaLnBrk="0" hangingPunct="0">
              <a:defRPr/>
            </a:pP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Экономическая </a:t>
            </a:r>
            <a:r>
              <a:rPr lang="ru-RU" altLang="ru-RU" sz="1400" kern="0" dirty="0">
                <a:solidFill>
                  <a:srgbClr val="1C1C1C"/>
                </a:solidFill>
                <a:latin typeface="Arial"/>
                <a:cs typeface="+mn-cs"/>
              </a:rPr>
              <a:t>эффективность от реализации проекта по ячейкам в </a:t>
            </a: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МП – 3,6 млн. руб. при прямых затратах 10,0 тыс. руб. </a:t>
            </a:r>
            <a:r>
              <a:rPr lang="en-US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ROI</a:t>
            </a: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 – 35900,0%</a:t>
            </a:r>
            <a:endParaRPr lang="ru-RU" altLang="ru-RU" sz="1400" kern="0" dirty="0">
              <a:solidFill>
                <a:srgbClr val="1C1C1C"/>
              </a:solidFill>
              <a:latin typeface="Arial"/>
              <a:cs typeface="+mn-cs"/>
            </a:endParaRPr>
          </a:p>
        </p:txBody>
      </p:sp>
      <p:sp>
        <p:nvSpPr>
          <p:cNvPr id="15" name="Номер слайда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C78C5E-6FB5-4568-AE58-C32DC4E15573}" type="slidenum">
              <a:rPr lang="en-US" altLang="ru-RU" smtClean="0">
                <a:solidFill>
                  <a:srgbClr val="000000"/>
                </a:solidFill>
              </a:rPr>
              <a:pPr/>
              <a:t>14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0568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>Отдел </a:t>
            </a:r>
            <a:r>
              <a:rPr lang="ru-RU" sz="2800" dirty="0" err="1" smtClean="0"/>
              <a:t>Микротехнологий</a:t>
            </a:r>
            <a:endParaRPr lang="ru-RU" sz="28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184" y="6190018"/>
            <a:ext cx="1728544" cy="521975"/>
          </a:xfrm>
          <a:prstGeom prst="rect">
            <a:avLst/>
          </a:prstGeom>
        </p:spPr>
      </p:pic>
      <p:sp>
        <p:nvSpPr>
          <p:cNvPr id="6" name="Нашивка 5"/>
          <p:cNvSpPr/>
          <p:nvPr/>
        </p:nvSpPr>
        <p:spPr>
          <a:xfrm>
            <a:off x="6512310" y="1282226"/>
            <a:ext cx="2016224" cy="647197"/>
          </a:xfrm>
          <a:prstGeom prst="chevron">
            <a:avLst/>
          </a:prstGeom>
          <a:solidFill>
            <a:schemeClr val="bg1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Контрольно-испытательная станция (КИС)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sp>
        <p:nvSpPr>
          <p:cNvPr id="7" name="Нашивка 6"/>
          <p:cNvSpPr/>
          <p:nvPr/>
        </p:nvSpPr>
        <p:spPr>
          <a:xfrm>
            <a:off x="4493457" y="1282231"/>
            <a:ext cx="2016224" cy="647197"/>
          </a:xfrm>
          <a:prstGeom prst="chevron">
            <a:avLst/>
          </a:prstGeom>
          <a:solidFill>
            <a:schemeClr val="bg1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Сборочное производство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sp>
        <p:nvSpPr>
          <p:cNvPr id="8" name="Нашивка 7"/>
          <p:cNvSpPr/>
          <p:nvPr/>
        </p:nvSpPr>
        <p:spPr>
          <a:xfrm>
            <a:off x="2468835" y="1282227"/>
            <a:ext cx="2016224" cy="647197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Отдел </a:t>
            </a:r>
            <a:r>
              <a:rPr lang="ru-RU" sz="1200" kern="0" dirty="0" err="1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микротехнологий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sp>
        <p:nvSpPr>
          <p:cNvPr id="9" name="Нашивка 8"/>
          <p:cNvSpPr/>
          <p:nvPr/>
        </p:nvSpPr>
        <p:spPr>
          <a:xfrm>
            <a:off x="457200" y="1282229"/>
            <a:ext cx="2016224" cy="647197"/>
          </a:xfrm>
          <a:prstGeom prst="chevron">
            <a:avLst/>
          </a:prstGeom>
          <a:solidFill>
            <a:schemeClr val="bg1">
              <a:lumMod val="75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Механическое производство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8187" y="2355752"/>
            <a:ext cx="7940347" cy="2736304"/>
          </a:xfrm>
          <a:prstGeom prst="roundRect">
            <a:avLst/>
          </a:prstGeom>
          <a:noFill/>
          <a:ln w="28575" cap="flat" cmpd="sng" algn="ctr">
            <a:solidFill>
              <a:srgbClr val="C00000"/>
            </a:solidFill>
            <a:prstDash val="solid"/>
          </a:ln>
          <a:effectLst/>
        </p:spPr>
        <p:txBody>
          <a:bodyPr lIns="72000" r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kern="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Результат: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Повышение пропускной способност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Отдела </a:t>
            </a:r>
            <a:r>
              <a:rPr lang="ru-RU" sz="1400" kern="0" dirty="0" err="1" smtClean="0">
                <a:solidFill>
                  <a:prstClr val="black"/>
                </a:solidFill>
                <a:latin typeface="Calibri"/>
                <a:cs typeface="Arial" pitchFamily="34" charset="0"/>
              </a:rPr>
              <a:t>Микротехнологий</a:t>
            </a: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 </a:t>
            </a:r>
            <a:r>
              <a:rPr lang="ru-RU" sz="1400" b="1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на 60%</a:t>
            </a: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.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Организация системы учёта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Эффективности лимитирующего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оборудования (ОЕЕ)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kern="0" dirty="0" smtClean="0">
              <a:solidFill>
                <a:prstClr val="black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1" name="Нашивка 10"/>
          <p:cNvSpPr/>
          <p:nvPr/>
        </p:nvSpPr>
        <p:spPr>
          <a:xfrm>
            <a:off x="120184" y="2007996"/>
            <a:ext cx="8753750" cy="104127"/>
          </a:xfrm>
          <a:prstGeom prst="chevron">
            <a:avLst/>
          </a:prstGeom>
          <a:solidFill>
            <a:schemeClr val="bg1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Логистическая система предприятия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91298" y="5092055"/>
            <a:ext cx="829550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Инициация проекта по организации единой ремонтной службы по оборудованию в рамках всего производственного комплекса на базе ремонтной службы Отдела </a:t>
            </a:r>
            <a:r>
              <a:rPr lang="ru-RU" altLang="ru-RU" sz="1400" kern="0" dirty="0" err="1" smtClean="0">
                <a:solidFill>
                  <a:srgbClr val="1C1C1C"/>
                </a:solidFill>
                <a:latin typeface="Arial"/>
                <a:cs typeface="+mn-cs"/>
              </a:rPr>
              <a:t>Микротехнологий</a:t>
            </a: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. Расчётный результат по проекту – снижение доли, с 43% до 31%, оборудования переданного на обслуживание в аутсорсинг и как следствие повышение общей эффективности ремонта оборудования и экономическая эффективность проекта. </a:t>
            </a:r>
            <a:endParaRPr lang="ru-RU" altLang="ru-RU" sz="1400" kern="0" dirty="0">
              <a:solidFill>
                <a:srgbClr val="1C1C1C"/>
              </a:solidFill>
              <a:latin typeface="Arial"/>
              <a:cs typeface="+mn-cs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270647" y="2446904"/>
            <a:ext cx="4111043" cy="255399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5" name="Номер слайда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C78C5E-6FB5-4568-AE58-C32DC4E15573}" type="slidenum">
              <a:rPr lang="en-US" altLang="ru-RU" smtClean="0">
                <a:solidFill>
                  <a:srgbClr val="000000"/>
                </a:solidFill>
              </a:rPr>
              <a:pPr/>
              <a:t>15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91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>Сборочное производство</a:t>
            </a:r>
            <a:endParaRPr lang="ru-RU" sz="28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184" y="6190018"/>
            <a:ext cx="1728544" cy="521975"/>
          </a:xfrm>
          <a:prstGeom prst="rect">
            <a:avLst/>
          </a:prstGeom>
        </p:spPr>
      </p:pic>
      <p:sp>
        <p:nvSpPr>
          <p:cNvPr id="6" name="Нашивка 5"/>
          <p:cNvSpPr/>
          <p:nvPr/>
        </p:nvSpPr>
        <p:spPr>
          <a:xfrm>
            <a:off x="6512310" y="1282226"/>
            <a:ext cx="2016224" cy="647197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Контрольно-испытательная станция (КИС)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sp>
        <p:nvSpPr>
          <p:cNvPr id="7" name="Нашивка 6"/>
          <p:cNvSpPr/>
          <p:nvPr/>
        </p:nvSpPr>
        <p:spPr>
          <a:xfrm>
            <a:off x="4493457" y="1282231"/>
            <a:ext cx="2016224" cy="647197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Сборочное производство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sp>
        <p:nvSpPr>
          <p:cNvPr id="8" name="Нашивка 7"/>
          <p:cNvSpPr/>
          <p:nvPr/>
        </p:nvSpPr>
        <p:spPr>
          <a:xfrm>
            <a:off x="2468835" y="1282227"/>
            <a:ext cx="2016224" cy="647197"/>
          </a:xfrm>
          <a:prstGeom prst="chevron">
            <a:avLst/>
          </a:prstGeom>
          <a:solidFill>
            <a:schemeClr val="bg1">
              <a:lumMod val="75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Отдел </a:t>
            </a:r>
            <a:r>
              <a:rPr lang="ru-RU" sz="1200" kern="0" dirty="0" err="1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микротехнологий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sp>
        <p:nvSpPr>
          <p:cNvPr id="9" name="Нашивка 8"/>
          <p:cNvSpPr/>
          <p:nvPr/>
        </p:nvSpPr>
        <p:spPr>
          <a:xfrm>
            <a:off x="457200" y="1282229"/>
            <a:ext cx="2016224" cy="647197"/>
          </a:xfrm>
          <a:prstGeom prst="chevron">
            <a:avLst/>
          </a:prstGeom>
          <a:solidFill>
            <a:schemeClr val="bg1">
              <a:lumMod val="75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Механическое производство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8187" y="2355752"/>
            <a:ext cx="7940347" cy="2736304"/>
          </a:xfrm>
          <a:prstGeom prst="roundRect">
            <a:avLst/>
          </a:prstGeom>
          <a:noFill/>
          <a:ln w="28575" cap="flat" cmpd="sng" algn="ctr">
            <a:solidFill>
              <a:srgbClr val="C00000"/>
            </a:solidFill>
            <a:prstDash val="solid"/>
          </a:ln>
          <a:effectLst/>
        </p:spPr>
        <p:txBody>
          <a:bodyPr lIns="72000" r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kern="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Результат: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Повышение пропускной способност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Сборочного производства </a:t>
            </a:r>
            <a:r>
              <a:rPr lang="ru-RU" sz="1400" b="1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на 51%</a:t>
            </a: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.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Организация системы учёта эффективност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>
                <a:solidFill>
                  <a:prstClr val="black"/>
                </a:solidFill>
                <a:latin typeface="Calibri"/>
                <a:cs typeface="Arial" pitchFamily="34" charset="0"/>
              </a:rPr>
              <a:t>л</a:t>
            </a: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имитирующего оборудования (ОЕЕ).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В рамках проекта было подготовлено и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Утверждено распоряжениями по предприятию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10 методических пособий по всем основным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 инструментам и системам РПС,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Актуализированных в соответствии с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Условиями данного предприятия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kern="0" dirty="0" smtClean="0">
              <a:solidFill>
                <a:prstClr val="black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1" name="Нашивка 10"/>
          <p:cNvSpPr/>
          <p:nvPr/>
        </p:nvSpPr>
        <p:spPr>
          <a:xfrm>
            <a:off x="120184" y="2007996"/>
            <a:ext cx="8753750" cy="104127"/>
          </a:xfrm>
          <a:prstGeom prst="chevron">
            <a:avLst/>
          </a:prstGeom>
          <a:solidFill>
            <a:schemeClr val="bg1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Логистическая система предприятия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19317" y="2491179"/>
            <a:ext cx="3968508" cy="246544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6" name="Прямоугольник 15"/>
          <p:cNvSpPr/>
          <p:nvPr/>
        </p:nvSpPr>
        <p:spPr>
          <a:xfrm>
            <a:off x="0" y="5092055"/>
            <a:ext cx="91440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ru-RU" altLang="ru-RU" sz="1400" kern="0" dirty="0">
                <a:solidFill>
                  <a:srgbClr val="1C1C1C"/>
                </a:solidFill>
                <a:latin typeface="Arial"/>
                <a:cs typeface="+mn-cs"/>
              </a:rPr>
              <a:t>Совершенствование процесса транспортировки изделий и упаковки не требующих проверки по параметрам в КИС и СП. Совершенствование процесса передачи изделий минуя склад ОК на территории КИС после проверки по параметрам</a:t>
            </a: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. Экономическая эффективность проекта – 664 тыс. руб.</a:t>
            </a:r>
          </a:p>
          <a:p>
            <a:pPr eaLnBrk="0" hangingPunct="0">
              <a:defRPr/>
            </a:pPr>
            <a:r>
              <a:rPr lang="ru-RU" altLang="ru-RU" sz="1400" kern="0" dirty="0">
                <a:solidFill>
                  <a:srgbClr val="1C1C1C"/>
                </a:solidFill>
                <a:latin typeface="Arial"/>
                <a:cs typeface="+mn-cs"/>
              </a:rPr>
              <a:t>Совершенствование процесса подготовки к ремонту  стендов КИС</a:t>
            </a: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. Экономическая эффективность </a:t>
            </a:r>
          </a:p>
          <a:p>
            <a:pPr eaLnBrk="0" hangingPunct="0">
              <a:defRPr/>
            </a:pPr>
            <a:r>
              <a:rPr lang="ru-RU" altLang="ru-RU" sz="1400" kern="0" dirty="0" smtClean="0">
                <a:solidFill>
                  <a:srgbClr val="1C1C1C"/>
                </a:solidFill>
                <a:latin typeface="Arial"/>
                <a:cs typeface="+mn-cs"/>
              </a:rPr>
              <a:t>проекта – 200,0 тыс. руб.</a:t>
            </a:r>
            <a:endParaRPr lang="ru-RU" altLang="ru-RU" sz="1400" kern="0" dirty="0">
              <a:solidFill>
                <a:srgbClr val="1C1C1C"/>
              </a:solidFill>
              <a:latin typeface="Arial"/>
              <a:cs typeface="+mn-cs"/>
            </a:endParaRPr>
          </a:p>
          <a:p>
            <a:pPr eaLnBrk="0" hangingPunct="0">
              <a:defRPr/>
            </a:pPr>
            <a:endParaRPr lang="ru-RU" altLang="ru-RU" sz="1400" kern="0" dirty="0">
              <a:solidFill>
                <a:srgbClr val="1C1C1C"/>
              </a:solidFill>
              <a:latin typeface="Arial"/>
              <a:cs typeface="+mn-cs"/>
            </a:endParaRP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C78C5E-6FB5-4568-AE58-C32DC4E15573}" type="slidenum">
              <a:rPr lang="en-US" altLang="ru-RU" smtClean="0">
                <a:solidFill>
                  <a:srgbClr val="000000"/>
                </a:solidFill>
              </a:rPr>
              <a:pPr/>
              <a:t>16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599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>Внутренняя логистика</a:t>
            </a:r>
            <a:endParaRPr lang="ru-RU" sz="28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184" y="6190018"/>
            <a:ext cx="1728544" cy="521975"/>
          </a:xfrm>
          <a:prstGeom prst="rect">
            <a:avLst/>
          </a:prstGeom>
        </p:spPr>
      </p:pic>
      <p:sp>
        <p:nvSpPr>
          <p:cNvPr id="6" name="Нашивка 5"/>
          <p:cNvSpPr/>
          <p:nvPr/>
        </p:nvSpPr>
        <p:spPr>
          <a:xfrm>
            <a:off x="6512310" y="1282226"/>
            <a:ext cx="2016224" cy="647197"/>
          </a:xfrm>
          <a:prstGeom prst="chevron">
            <a:avLst/>
          </a:prstGeom>
          <a:solidFill>
            <a:schemeClr val="bg1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Контрольно-испытательная станция (КИС)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sp>
        <p:nvSpPr>
          <p:cNvPr id="7" name="Нашивка 6"/>
          <p:cNvSpPr/>
          <p:nvPr/>
        </p:nvSpPr>
        <p:spPr>
          <a:xfrm>
            <a:off x="4493457" y="1282231"/>
            <a:ext cx="2016224" cy="647197"/>
          </a:xfrm>
          <a:prstGeom prst="chevron">
            <a:avLst/>
          </a:prstGeom>
          <a:solidFill>
            <a:schemeClr val="bg1">
              <a:lumMod val="75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Сборочное производство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sp>
        <p:nvSpPr>
          <p:cNvPr id="8" name="Нашивка 7"/>
          <p:cNvSpPr/>
          <p:nvPr/>
        </p:nvSpPr>
        <p:spPr>
          <a:xfrm>
            <a:off x="2468835" y="1282227"/>
            <a:ext cx="2016224" cy="647197"/>
          </a:xfrm>
          <a:prstGeom prst="chevron">
            <a:avLst/>
          </a:prstGeom>
          <a:solidFill>
            <a:schemeClr val="bg1">
              <a:lumMod val="75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Отдел </a:t>
            </a:r>
            <a:r>
              <a:rPr lang="ru-RU" sz="1200" kern="0" dirty="0" err="1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микротехнологий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sp>
        <p:nvSpPr>
          <p:cNvPr id="9" name="Нашивка 8"/>
          <p:cNvSpPr/>
          <p:nvPr/>
        </p:nvSpPr>
        <p:spPr>
          <a:xfrm>
            <a:off x="457200" y="1282229"/>
            <a:ext cx="2016224" cy="647197"/>
          </a:xfrm>
          <a:prstGeom prst="chevron">
            <a:avLst/>
          </a:prstGeom>
          <a:solidFill>
            <a:schemeClr val="bg1">
              <a:lumMod val="75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Механическое производство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20184" y="2211526"/>
            <a:ext cx="4057954" cy="1104140"/>
          </a:xfrm>
          <a:prstGeom prst="roundRect">
            <a:avLst/>
          </a:prstGeom>
          <a:noFill/>
          <a:ln w="28575" cap="flat" cmpd="sng" algn="ctr">
            <a:solidFill>
              <a:srgbClr val="C00000"/>
            </a:solidFill>
            <a:prstDash val="solid"/>
          </a:ln>
          <a:effectLst/>
        </p:spPr>
        <p:txBody>
          <a:bodyPr lIns="72000" r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kern="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Результат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Изменение системы внутренней логистики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Организация супермаркета заготовок в МП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Инициализация развития института транспортных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рабочих в МП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kern="0" dirty="0" smtClean="0">
              <a:solidFill>
                <a:prstClr val="black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1" name="Нашивка 10"/>
          <p:cNvSpPr/>
          <p:nvPr/>
        </p:nvSpPr>
        <p:spPr>
          <a:xfrm>
            <a:off x="120184" y="2007996"/>
            <a:ext cx="8753750" cy="104127"/>
          </a:xfrm>
          <a:prstGeom prst="chevr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prstClr val="black"/>
                </a:solidFill>
                <a:latin typeface="Calibri"/>
                <a:ea typeface="Tahoma" pitchFamily="34" charset="0"/>
                <a:cs typeface="Arial" pitchFamily="34" charset="0"/>
              </a:rPr>
              <a:t>Логистическая система предприятия</a:t>
            </a:r>
            <a:endParaRPr lang="ru-RU" sz="1200" kern="0" dirty="0">
              <a:solidFill>
                <a:prstClr val="black"/>
              </a:solidFill>
              <a:latin typeface="Calibri"/>
              <a:ea typeface="Tahoma" pitchFamily="34" charset="0"/>
              <a:cs typeface="Arial" pitchFamily="34" charset="0"/>
            </a:endParaRPr>
          </a:p>
        </p:txBody>
      </p:sp>
      <p:pic>
        <p:nvPicPr>
          <p:cNvPr id="2199" name="Рисунок 219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07864" y="3478991"/>
            <a:ext cx="4034266" cy="2711027"/>
          </a:xfrm>
          <a:prstGeom prst="rect">
            <a:avLst/>
          </a:prstGeom>
        </p:spPr>
      </p:pic>
      <p:pic>
        <p:nvPicPr>
          <p:cNvPr id="2200" name="Рисунок 2199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710040" y="2355726"/>
            <a:ext cx="3976760" cy="2603452"/>
          </a:xfrm>
          <a:prstGeom prst="rect">
            <a:avLst/>
          </a:prstGeom>
        </p:spPr>
      </p:pic>
      <p:sp>
        <p:nvSpPr>
          <p:cNvPr id="2201" name="Стрелка вправо 2200"/>
          <p:cNvSpPr/>
          <p:nvPr/>
        </p:nvSpPr>
        <p:spPr>
          <a:xfrm rot="19903066">
            <a:off x="4006297" y="4283281"/>
            <a:ext cx="671667" cy="255373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srgbClr val="C8D4E2"/>
              </a:solidFill>
            </a:endParaRPr>
          </a:p>
        </p:txBody>
      </p:sp>
      <p:pic>
        <p:nvPicPr>
          <p:cNvPr id="2202" name="Рисунок 220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093762" y="4959178"/>
            <a:ext cx="2434772" cy="18952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Номер слайда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C78C5E-6FB5-4568-AE58-C32DC4E15573}" type="slidenum">
              <a:rPr lang="en-US" altLang="ru-RU" smtClean="0">
                <a:solidFill>
                  <a:srgbClr val="000000"/>
                </a:solidFill>
              </a:rPr>
              <a:pPr/>
              <a:t>17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50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5" name="Text Box 5"/>
          <p:cNvSpPr txBox="1">
            <a:spLocks noChangeArrowheads="1"/>
          </p:cNvSpPr>
          <p:nvPr/>
        </p:nvSpPr>
        <p:spPr bwMode="auto">
          <a:xfrm>
            <a:off x="611188" y="835025"/>
            <a:ext cx="3887787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ru-RU" altLang="ru-RU"/>
          </a:p>
        </p:txBody>
      </p:sp>
      <p:sp>
        <p:nvSpPr>
          <p:cNvPr id="25606" name="Text Box 6"/>
          <p:cNvSpPr txBox="1">
            <a:spLocks noChangeArrowheads="1"/>
          </p:cNvSpPr>
          <p:nvPr/>
        </p:nvSpPr>
        <p:spPr bwMode="auto">
          <a:xfrm>
            <a:off x="250825" y="1197461"/>
            <a:ext cx="381867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/>
            <a:r>
              <a:rPr lang="ru-RU" altLang="ru-RU" b="1" dirty="0">
                <a:latin typeface="+mn-lt"/>
              </a:rPr>
              <a:t>Вершины осилит идущий…</a:t>
            </a:r>
          </a:p>
        </p:txBody>
      </p:sp>
      <p:sp>
        <p:nvSpPr>
          <p:cNvPr id="25607" name="Text Box 7"/>
          <p:cNvSpPr txBox="1">
            <a:spLocks noChangeArrowheads="1"/>
          </p:cNvSpPr>
          <p:nvPr/>
        </p:nvSpPr>
        <p:spPr bwMode="auto">
          <a:xfrm>
            <a:off x="246060" y="4581128"/>
            <a:ext cx="415370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/>
            <a:r>
              <a:rPr lang="ru-RU" altLang="ru-RU" b="1" dirty="0">
                <a:latin typeface="+mn-lt"/>
              </a:rPr>
              <a:t>… с правильными навыками,</a:t>
            </a:r>
          </a:p>
          <a:p>
            <a:pPr eaLnBrk="1" hangingPunct="1"/>
            <a:r>
              <a:rPr lang="ru-RU" altLang="ru-RU" b="1" dirty="0">
                <a:latin typeface="+mn-lt"/>
              </a:rPr>
              <a:t>снаряжением и проводником</a:t>
            </a:r>
          </a:p>
        </p:txBody>
      </p:sp>
      <p:sp>
        <p:nvSpPr>
          <p:cNvPr id="25609" name="Text Box 10"/>
          <p:cNvSpPr txBox="1">
            <a:spLocks noChangeArrowheads="1"/>
          </p:cNvSpPr>
          <p:nvPr/>
        </p:nvSpPr>
        <p:spPr bwMode="auto">
          <a:xfrm>
            <a:off x="250825" y="5589240"/>
            <a:ext cx="6771405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400" b="1" dirty="0">
                <a:latin typeface="+mn-lt"/>
                <a:ea typeface="Segoe UI Black" panose="020B0A02040204020203" pitchFamily="34" charset="0"/>
                <a:cs typeface="Segoe UI Black" panose="020B0A02040204020203" pitchFamily="34" charset="0"/>
              </a:rPr>
              <a:t>Адрес:</a:t>
            </a:r>
            <a:r>
              <a:rPr lang="ru-RU" altLang="ru-RU" sz="1400" dirty="0">
                <a:latin typeface="+mn-lt"/>
                <a:ea typeface="Segoe UI Black" panose="020B0A02040204020203" pitchFamily="34" charset="0"/>
                <a:cs typeface="Segoe UI Black" panose="020B0A02040204020203" pitchFamily="34" charset="0"/>
              </a:rPr>
              <a:t> 620144, Россия, Екатеринбург, </a:t>
            </a:r>
            <a:r>
              <a:rPr lang="ru-RU" altLang="ru-RU" sz="1400" dirty="0" err="1" smtClean="0">
                <a:latin typeface="+mn-lt"/>
                <a:ea typeface="Segoe UI Black" panose="020B0A02040204020203" pitchFamily="34" charset="0"/>
                <a:cs typeface="Segoe UI Black" panose="020B0A02040204020203" pitchFamily="34" charset="0"/>
              </a:rPr>
              <a:t>ул.Айвазовского</a:t>
            </a:r>
            <a:r>
              <a:rPr lang="ru-RU" altLang="ru-RU" sz="1400" dirty="0">
                <a:latin typeface="+mn-lt"/>
                <a:ea typeface="Segoe UI Black" panose="020B0A02040204020203" pitchFamily="34" charset="0"/>
                <a:cs typeface="Segoe UI Black" panose="020B0A02040204020203" pitchFamily="34" charset="0"/>
              </a:rPr>
              <a:t>, 53</a:t>
            </a:r>
            <a:endParaRPr lang="ru-RU" altLang="ru-RU" sz="1400" b="1" dirty="0">
              <a:latin typeface="+mn-lt"/>
              <a:ea typeface="Segoe UI Black" panose="020B0A02040204020203" pitchFamily="34" charset="0"/>
              <a:cs typeface="Segoe UI Black" panose="020B0A02040204020203" pitchFamily="34" charset="0"/>
            </a:endParaRPr>
          </a:p>
          <a:p>
            <a:pPr eaLnBrk="1" hangingPunct="1"/>
            <a:r>
              <a:rPr lang="ru-RU" altLang="ru-RU" sz="1400" b="1" dirty="0">
                <a:latin typeface="+mn-lt"/>
                <a:ea typeface="Segoe UI Black" panose="020B0A02040204020203" pitchFamily="34" charset="0"/>
                <a:cs typeface="Segoe UI Black" panose="020B0A02040204020203" pitchFamily="34" charset="0"/>
              </a:rPr>
              <a:t>Почтовый адрес:</a:t>
            </a:r>
            <a:r>
              <a:rPr lang="ru-RU" altLang="ru-RU" sz="1400" dirty="0">
                <a:latin typeface="+mn-lt"/>
                <a:ea typeface="Segoe UI Black" panose="020B0A02040204020203" pitchFamily="34" charset="0"/>
                <a:cs typeface="Segoe UI Black" panose="020B0A02040204020203" pitchFamily="34" charset="0"/>
              </a:rPr>
              <a:t> 620144, Екатеринбург, а/я 459</a:t>
            </a:r>
            <a:endParaRPr lang="ru-RU" altLang="ru-RU" sz="1400" b="1" dirty="0">
              <a:latin typeface="+mn-lt"/>
              <a:ea typeface="Segoe UI Black" panose="020B0A02040204020203" pitchFamily="34" charset="0"/>
              <a:cs typeface="Segoe UI Black" panose="020B0A02040204020203" pitchFamily="34" charset="0"/>
            </a:endParaRPr>
          </a:p>
          <a:p>
            <a:pPr eaLnBrk="1" hangingPunct="1"/>
            <a:r>
              <a:rPr lang="ru-RU" altLang="ru-RU" sz="1400" b="1" dirty="0">
                <a:latin typeface="+mn-lt"/>
                <a:ea typeface="Segoe UI Black" panose="020B0A02040204020203" pitchFamily="34" charset="0"/>
                <a:cs typeface="Segoe UI Black" panose="020B0A02040204020203" pitchFamily="34" charset="0"/>
              </a:rPr>
              <a:t>Тел.:</a:t>
            </a:r>
            <a:r>
              <a:rPr lang="ru-RU" altLang="ru-RU" sz="1400" dirty="0">
                <a:latin typeface="+mn-lt"/>
                <a:ea typeface="Segoe UI Black" panose="020B0A02040204020203" pitchFamily="34" charset="0"/>
                <a:cs typeface="Segoe UI Black" panose="020B0A02040204020203" pitchFamily="34" charset="0"/>
              </a:rPr>
              <a:t> (343) 2222 120, 8 800 2000 915 (бесплатный звонок по России)</a:t>
            </a:r>
            <a:endParaRPr lang="ru-RU" altLang="ru-RU" sz="1400" b="1" dirty="0">
              <a:latin typeface="+mn-lt"/>
              <a:ea typeface="Segoe UI Black" panose="020B0A02040204020203" pitchFamily="34" charset="0"/>
              <a:cs typeface="Segoe UI Black" panose="020B0A02040204020203" pitchFamily="34" charset="0"/>
            </a:endParaRPr>
          </a:p>
          <a:p>
            <a:pPr eaLnBrk="1" hangingPunct="1"/>
            <a:r>
              <a:rPr lang="ru-RU" altLang="ru-RU" sz="1400" b="1" dirty="0">
                <a:latin typeface="+mn-lt"/>
                <a:ea typeface="Segoe UI Black" panose="020B0A02040204020203" pitchFamily="34" charset="0"/>
                <a:cs typeface="Segoe UI Black" panose="020B0A02040204020203" pitchFamily="34" charset="0"/>
              </a:rPr>
              <a:t>Электронная почта:</a:t>
            </a:r>
            <a:r>
              <a:rPr lang="ru-RU" altLang="ru-RU" sz="1400" dirty="0">
                <a:latin typeface="+mn-lt"/>
                <a:ea typeface="Segoe UI Black" panose="020B0A02040204020203" pitchFamily="34" charset="0"/>
                <a:cs typeface="Segoe UI Black" panose="020B0A02040204020203" pitchFamily="34" charset="0"/>
              </a:rPr>
              <a:t> </a:t>
            </a:r>
            <a:r>
              <a:rPr lang="en-US" altLang="ru-RU" sz="1400" dirty="0">
                <a:latin typeface="+mn-lt"/>
                <a:ea typeface="Segoe UI Black" panose="020B0A02040204020203" pitchFamily="34" charset="0"/>
                <a:cs typeface="Segoe UI Black" panose="020B0A02040204020203" pitchFamily="34" charset="0"/>
              </a:rPr>
              <a:t>office</a:t>
            </a:r>
            <a:r>
              <a:rPr lang="ru-RU" altLang="ru-RU" sz="1400" dirty="0">
                <a:latin typeface="+mn-lt"/>
                <a:ea typeface="Segoe UI Black" panose="020B0A02040204020203" pitchFamily="34" charset="0"/>
                <a:cs typeface="Segoe UI Black" panose="020B0A02040204020203" pitchFamily="34" charset="0"/>
              </a:rPr>
              <a:t>@</a:t>
            </a:r>
            <a:r>
              <a:rPr lang="en-US" altLang="ru-RU" sz="1400" dirty="0" err="1">
                <a:latin typeface="+mn-lt"/>
                <a:ea typeface="Segoe UI Black" panose="020B0A02040204020203" pitchFamily="34" charset="0"/>
                <a:cs typeface="Segoe UI Black" panose="020B0A02040204020203" pitchFamily="34" charset="0"/>
              </a:rPr>
              <a:t>orgprom</a:t>
            </a:r>
            <a:r>
              <a:rPr lang="ru-RU" altLang="ru-RU" sz="1400" dirty="0">
                <a:latin typeface="+mn-lt"/>
                <a:ea typeface="Segoe UI Black" panose="020B0A02040204020203" pitchFamily="34" charset="0"/>
                <a:cs typeface="Segoe UI Black" panose="020B0A02040204020203" pitchFamily="34" charset="0"/>
              </a:rPr>
              <a:t>.</a:t>
            </a:r>
            <a:r>
              <a:rPr lang="en-US" altLang="ru-RU" sz="1400" dirty="0" err="1">
                <a:latin typeface="+mn-lt"/>
                <a:ea typeface="Segoe UI Black" panose="020B0A02040204020203" pitchFamily="34" charset="0"/>
                <a:cs typeface="Segoe UI Black" panose="020B0A02040204020203" pitchFamily="34" charset="0"/>
              </a:rPr>
              <a:t>ru</a:t>
            </a:r>
            <a:endParaRPr lang="ru-RU" altLang="ru-RU" sz="1400" dirty="0">
              <a:latin typeface="+mn-lt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pic>
        <p:nvPicPr>
          <p:cNvPr id="25610" name="Picture 4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5" y="1699460"/>
            <a:ext cx="3671888" cy="287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 txBox="1">
            <a:spLocks/>
          </p:cNvSpPr>
          <p:nvPr/>
        </p:nvSpPr>
        <p:spPr>
          <a:xfrm>
            <a:off x="107504" y="188640"/>
            <a:ext cx="9036496" cy="108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4000" b="1" dirty="0">
                <a:solidFill>
                  <a:srgbClr val="FF66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Black" pitchFamily="34" charset="0"/>
                <a:ea typeface="+mn-ea"/>
                <a:cs typeface="Arial" charset="0"/>
              </a:rPr>
              <a:t>Контактная информация</a:t>
            </a:r>
          </a:p>
        </p:txBody>
      </p:sp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3995936" y="1628800"/>
            <a:ext cx="5148064" cy="187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rgbClr val="333399"/>
                </a:solidFill>
              </a:rPr>
              <a:t>www.orgprom.ru</a:t>
            </a:r>
            <a:r>
              <a:rPr lang="ru-RU" sz="1400" dirty="0">
                <a:solidFill>
                  <a:srgbClr val="000000"/>
                </a:solidFill>
              </a:rPr>
              <a:t> – главный сайт ГК «Оргпром» - </a:t>
            </a:r>
            <a:r>
              <a:rPr lang="ru-RU" sz="1400" b="1" dirty="0" smtClean="0">
                <a:solidFill>
                  <a:srgbClr val="E50938"/>
                </a:solidFill>
              </a:rPr>
              <a:t>устойчивое развитие производственных </a:t>
            </a:r>
            <a:r>
              <a:rPr lang="ru-RU" sz="1400" b="1" dirty="0">
                <a:solidFill>
                  <a:srgbClr val="E50938"/>
                </a:solidFill>
              </a:rPr>
              <a:t>систем</a:t>
            </a:r>
          </a:p>
          <a:p>
            <a:pPr>
              <a:spcBef>
                <a:spcPct val="50000"/>
              </a:spcBef>
            </a:pPr>
            <a:r>
              <a:rPr lang="ru-RU" sz="1400" b="1" dirty="0">
                <a:solidFill>
                  <a:srgbClr val="333399"/>
                </a:solidFill>
              </a:rPr>
              <a:t>БАРАНОВ Алексей Витальевич</a:t>
            </a:r>
            <a:r>
              <a:rPr lang="ru-RU" sz="1400" dirty="0">
                <a:solidFill>
                  <a:srgbClr val="000000"/>
                </a:solidFill>
              </a:rPr>
              <a:t>, генеральный директор – </a:t>
            </a:r>
            <a:r>
              <a:rPr lang="en-US" sz="1400" b="1" dirty="0" smtClean="0">
                <a:solidFill>
                  <a:srgbClr val="000000"/>
                </a:solidFill>
                <a:hlinkClick r:id="rId3"/>
              </a:rPr>
              <a:t>abaranov@orgprom.ru</a:t>
            </a:r>
            <a:endParaRPr lang="ru-RU" sz="1400" b="1" dirty="0" smtClean="0">
              <a:solidFill>
                <a:srgbClr val="000000"/>
              </a:solidFill>
            </a:endParaRPr>
          </a:p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333399"/>
                </a:solidFill>
              </a:rPr>
              <a:t>КОЛТАШОВ Станислав Николаевич</a:t>
            </a:r>
            <a:r>
              <a:rPr lang="ru-RU" sz="1400" dirty="0" smtClean="0">
                <a:solidFill>
                  <a:srgbClr val="000000"/>
                </a:solidFill>
              </a:rPr>
              <a:t>, исполнительный директор –</a:t>
            </a:r>
            <a:r>
              <a:rPr lang="en-US" sz="1400" b="1" dirty="0" smtClean="0">
                <a:solidFill>
                  <a:srgbClr val="000000"/>
                </a:solidFill>
                <a:hlinkClick r:id="rId3"/>
              </a:rPr>
              <a:t>ksn@orgprom.ru</a:t>
            </a:r>
            <a:endParaRPr lang="ru-RU" sz="1400" b="1" dirty="0">
              <a:solidFill>
                <a:srgbClr val="000000"/>
              </a:solidFill>
              <a:hlinkClick r:id="rId3"/>
            </a:endParaRPr>
          </a:p>
        </p:txBody>
      </p:sp>
    </p:spTree>
    <p:extLst>
      <p:ext uri="{BB962C8B-B14F-4D97-AF65-F5344CB8AC3E}">
        <p14:creationId xmlns:p14="http://schemas.microsoft.com/office/powerpoint/2010/main" val="605603126"/>
      </p:ext>
    </p:extLst>
  </p:cSld>
  <p:clrMapOvr>
    <a:masterClrMapping/>
  </p:clrMapOvr>
  <p:transition advClick="0" advTm="0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88640"/>
            <a:ext cx="9144000" cy="764704"/>
          </a:xfrm>
        </p:spPr>
        <p:txBody>
          <a:bodyPr>
            <a:normAutofit/>
          </a:bodyPr>
          <a:lstStyle/>
          <a:p>
            <a:r>
              <a:rPr lang="ru-RU" sz="3600" kern="1200" dirty="0" smtClean="0">
                <a:solidFill>
                  <a:srgbClr val="C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ИЗВОДСТВЕННАЯ СИСТЕМА</a:t>
            </a:r>
            <a:endParaRPr lang="ru-RU" sz="3600" kern="1200" dirty="0">
              <a:solidFill>
                <a:srgbClr val="C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" name="Group 1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 rot="3550253">
            <a:off x="2307997" y="722894"/>
            <a:ext cx="5324051" cy="5118021"/>
            <a:chOff x="1328" y="629"/>
            <a:chExt cx="2989" cy="2711"/>
          </a:xfrm>
        </p:grpSpPr>
        <p:sp>
          <p:nvSpPr>
            <p:cNvPr id="5" name="Oval 1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2028" y="648"/>
              <a:ext cx="1589" cy="1531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C5E3A1"/>
                </a:gs>
              </a:gsLst>
              <a:path path="shape">
                <a:fillToRect l="50000" t="50000" r="50000" b="50000"/>
              </a:path>
            </a:gradFill>
            <a:ln w="28575">
              <a:solidFill>
                <a:schemeClr val="folHlink"/>
              </a:solidFill>
              <a:round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defTabSz="933450"/>
              <a:endParaRPr lang="en-US" sz="1600">
                <a:solidFill>
                  <a:prstClr val="black"/>
                </a:solidFill>
                <a:ea typeface="ＭＳ Ｐゴシック" charset="-128"/>
              </a:endParaRPr>
            </a:p>
          </p:txBody>
        </p:sp>
        <p:sp>
          <p:nvSpPr>
            <p:cNvPr id="6" name="Oval 1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1328" y="1809"/>
              <a:ext cx="1590" cy="1531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C5E3A1"/>
                </a:gs>
              </a:gsLst>
              <a:path path="shape">
                <a:fillToRect l="50000" t="50000" r="50000" b="50000"/>
              </a:path>
            </a:gradFill>
            <a:ln w="28575">
              <a:solidFill>
                <a:schemeClr val="folHlink"/>
              </a:solidFill>
              <a:round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defTabSz="933450"/>
              <a:endParaRPr lang="en-US" sz="1600">
                <a:solidFill>
                  <a:prstClr val="black"/>
                </a:solidFill>
                <a:ea typeface="ＭＳ Ｐゴシック" charset="-128"/>
              </a:endParaRPr>
            </a:p>
          </p:txBody>
        </p:sp>
        <p:sp>
          <p:nvSpPr>
            <p:cNvPr id="7" name="Oval 1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flipV="1">
              <a:off x="2727" y="1809"/>
              <a:ext cx="1590" cy="1531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C5E3A1"/>
                </a:gs>
              </a:gsLst>
              <a:path path="shape">
                <a:fillToRect l="50000" t="50000" r="50000" b="50000"/>
              </a:path>
            </a:gradFill>
            <a:ln w="28575">
              <a:solidFill>
                <a:schemeClr val="folHlink"/>
              </a:solidFill>
              <a:round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defTabSz="933450"/>
              <a:endParaRPr lang="en-US" sz="1600">
                <a:solidFill>
                  <a:prstClr val="black"/>
                </a:solidFill>
                <a:ea typeface="ＭＳ Ｐゴシック" charset="-128"/>
              </a:endParaRPr>
            </a:p>
          </p:txBody>
        </p:sp>
        <p:sp>
          <p:nvSpPr>
            <p:cNvPr id="8" name="Rectangle 1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rot="18052438">
              <a:off x="1320" y="2233"/>
              <a:ext cx="1439" cy="6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7400">
                <a:buSzPct val="120000"/>
              </a:pPr>
              <a:r>
                <a:rPr lang="ru-RU" sz="1600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Люди</a:t>
              </a:r>
            </a:p>
            <a:p>
              <a:pPr algn="ctr" defTabSz="787400">
                <a:buSzPct val="120000"/>
              </a:pPr>
              <a:r>
                <a:rPr lang="ru-RU" sz="1600" b="1" dirty="0" smtClean="0">
                  <a:solidFill>
                    <a:srgbClr val="006600"/>
                  </a:solidFill>
                </a:rPr>
                <a:t>(развитие людей  в процессе решения проблем, обучение действием) </a:t>
              </a:r>
              <a:endParaRPr lang="en-US" sz="1600" b="1" dirty="0">
                <a:solidFill>
                  <a:srgbClr val="006600"/>
                </a:solidFill>
              </a:endParaRPr>
            </a:p>
          </p:txBody>
        </p:sp>
        <p:sp>
          <p:nvSpPr>
            <p:cNvPr id="9" name="Rectangle 1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rot="18052438">
              <a:off x="2906" y="2354"/>
              <a:ext cx="1391" cy="4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7400">
                <a:buSzPct val="120000"/>
              </a:pPr>
              <a:r>
                <a:rPr lang="ru-RU" sz="1600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Менеджмент</a:t>
              </a:r>
            </a:p>
            <a:p>
              <a:pPr algn="ctr" defTabSz="787400">
                <a:buSzPct val="120000"/>
              </a:pPr>
              <a:r>
                <a:rPr lang="ru-RU" sz="1600" b="1" dirty="0" smtClean="0">
                  <a:solidFill>
                    <a:srgbClr val="006600"/>
                  </a:solidFill>
                </a:rPr>
                <a:t>(улучшение </a:t>
              </a:r>
              <a:r>
                <a:rPr lang="ru-RU" sz="1600" b="1" dirty="0">
                  <a:solidFill>
                    <a:srgbClr val="006600"/>
                  </a:solidFill>
                </a:rPr>
                <a:t>системы </a:t>
              </a:r>
              <a:r>
                <a:rPr lang="ru-RU" sz="1600" b="1" dirty="0" smtClean="0">
                  <a:solidFill>
                    <a:srgbClr val="006600"/>
                  </a:solidFill>
                </a:rPr>
                <a:t>управления)</a:t>
              </a:r>
              <a:endParaRPr lang="en-US" sz="1600" b="1" dirty="0">
                <a:solidFill>
                  <a:srgbClr val="006600"/>
                </a:solidFill>
              </a:endParaRPr>
            </a:p>
          </p:txBody>
        </p:sp>
        <p:sp>
          <p:nvSpPr>
            <p:cNvPr id="10" name="Rectangle 2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 rot="18052438">
              <a:off x="1982" y="1100"/>
              <a:ext cx="1394" cy="4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787400">
                <a:buSzPct val="120000"/>
              </a:pPr>
              <a:r>
                <a:rPr lang="ru-RU" sz="1600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Процессы</a:t>
              </a:r>
            </a:p>
            <a:p>
              <a:pPr algn="ctr" defTabSz="787400">
                <a:buSzPct val="120000"/>
              </a:pPr>
              <a:r>
                <a:rPr lang="ru-RU" sz="1600" b="1" dirty="0" smtClean="0">
                  <a:solidFill>
                    <a:srgbClr val="006600"/>
                  </a:solidFill>
                </a:rPr>
                <a:t>(оптимизация</a:t>
              </a:r>
              <a:r>
                <a:rPr lang="en-US" sz="1600" b="1" dirty="0" smtClean="0">
                  <a:solidFill>
                    <a:srgbClr val="006600"/>
                  </a:solidFill>
                </a:rPr>
                <a:t> </a:t>
              </a:r>
              <a:r>
                <a:rPr lang="ru-RU" sz="1600" b="1" dirty="0" smtClean="0">
                  <a:solidFill>
                    <a:srgbClr val="006600"/>
                  </a:solidFill>
                </a:rPr>
                <a:t>процессов)</a:t>
              </a:r>
              <a:endParaRPr lang="en-US" sz="1600" b="1" dirty="0">
                <a:solidFill>
                  <a:srgbClr val="006600"/>
                </a:solidFill>
                <a:ea typeface="ＭＳ Ｐゴシック" charset="-128"/>
              </a:endParaRPr>
            </a:p>
          </p:txBody>
        </p:sp>
        <p:sp>
          <p:nvSpPr>
            <p:cNvPr id="11" name="Freeform 2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2724" y="2208"/>
              <a:ext cx="194" cy="730"/>
            </a:xfrm>
            <a:custGeom>
              <a:avLst/>
              <a:gdLst>
                <a:gd name="T0" fmla="*/ 17 w 222"/>
                <a:gd name="T1" fmla="*/ 0 h 834"/>
                <a:gd name="T2" fmla="*/ 13 w 222"/>
                <a:gd name="T3" fmla="*/ 7 h 834"/>
                <a:gd name="T4" fmla="*/ 11 w 222"/>
                <a:gd name="T5" fmla="*/ 12 h 834"/>
                <a:gd name="T6" fmla="*/ 8 w 222"/>
                <a:gd name="T7" fmla="*/ 21 h 834"/>
                <a:gd name="T8" fmla="*/ 5 w 222"/>
                <a:gd name="T9" fmla="*/ 29 h 834"/>
                <a:gd name="T10" fmla="*/ 3 w 222"/>
                <a:gd name="T11" fmla="*/ 38 h 834"/>
                <a:gd name="T12" fmla="*/ 3 w 222"/>
                <a:gd name="T13" fmla="*/ 46 h 834"/>
                <a:gd name="T14" fmla="*/ 3 w 222"/>
                <a:gd name="T15" fmla="*/ 56 h 834"/>
                <a:gd name="T16" fmla="*/ 0 w 222"/>
                <a:gd name="T17" fmla="*/ 66 h 834"/>
                <a:gd name="T18" fmla="*/ 3 w 222"/>
                <a:gd name="T19" fmla="*/ 78 h 834"/>
                <a:gd name="T20" fmla="*/ 3 w 222"/>
                <a:gd name="T21" fmla="*/ 88 h 834"/>
                <a:gd name="T22" fmla="*/ 5 w 222"/>
                <a:gd name="T23" fmla="*/ 102 h 834"/>
                <a:gd name="T24" fmla="*/ 9 w 222"/>
                <a:gd name="T25" fmla="*/ 113 h 834"/>
                <a:gd name="T26" fmla="*/ 13 w 222"/>
                <a:gd name="T27" fmla="*/ 120 h 834"/>
                <a:gd name="T28" fmla="*/ 17 w 222"/>
                <a:gd name="T29" fmla="*/ 130 h 834"/>
                <a:gd name="T30" fmla="*/ 23 w 222"/>
                <a:gd name="T31" fmla="*/ 118 h 834"/>
                <a:gd name="T32" fmla="*/ 28 w 222"/>
                <a:gd name="T33" fmla="*/ 103 h 834"/>
                <a:gd name="T34" fmla="*/ 31 w 222"/>
                <a:gd name="T35" fmla="*/ 89 h 834"/>
                <a:gd name="T36" fmla="*/ 34 w 222"/>
                <a:gd name="T37" fmla="*/ 74 h 834"/>
                <a:gd name="T38" fmla="*/ 34 w 222"/>
                <a:gd name="T39" fmla="*/ 60 h 834"/>
                <a:gd name="T40" fmla="*/ 34 w 222"/>
                <a:gd name="T41" fmla="*/ 53 h 834"/>
                <a:gd name="T42" fmla="*/ 31 w 222"/>
                <a:gd name="T43" fmla="*/ 40 h 834"/>
                <a:gd name="T44" fmla="*/ 28 w 222"/>
                <a:gd name="T45" fmla="*/ 27 h 834"/>
                <a:gd name="T46" fmla="*/ 25 w 222"/>
                <a:gd name="T47" fmla="*/ 18 h 834"/>
                <a:gd name="T48" fmla="*/ 21 w 222"/>
                <a:gd name="T49" fmla="*/ 8 h 834"/>
                <a:gd name="T50" fmla="*/ 17 w 222"/>
                <a:gd name="T51" fmla="*/ 0 h 83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22"/>
                <a:gd name="T79" fmla="*/ 0 h 834"/>
                <a:gd name="T80" fmla="*/ 222 w 222"/>
                <a:gd name="T81" fmla="*/ 834 h 83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22" h="834">
                  <a:moveTo>
                    <a:pt x="111" y="0"/>
                  </a:moveTo>
                  <a:lnTo>
                    <a:pt x="90" y="42"/>
                  </a:lnTo>
                  <a:lnTo>
                    <a:pt x="74" y="78"/>
                  </a:lnTo>
                  <a:lnTo>
                    <a:pt x="51" y="133"/>
                  </a:lnTo>
                  <a:lnTo>
                    <a:pt x="33" y="185"/>
                  </a:lnTo>
                  <a:lnTo>
                    <a:pt x="21" y="243"/>
                  </a:lnTo>
                  <a:lnTo>
                    <a:pt x="12" y="296"/>
                  </a:lnTo>
                  <a:lnTo>
                    <a:pt x="3" y="360"/>
                  </a:lnTo>
                  <a:lnTo>
                    <a:pt x="0" y="423"/>
                  </a:lnTo>
                  <a:lnTo>
                    <a:pt x="8" y="509"/>
                  </a:lnTo>
                  <a:lnTo>
                    <a:pt x="15" y="562"/>
                  </a:lnTo>
                  <a:lnTo>
                    <a:pt x="36" y="653"/>
                  </a:lnTo>
                  <a:lnTo>
                    <a:pt x="63" y="728"/>
                  </a:lnTo>
                  <a:lnTo>
                    <a:pt x="84" y="776"/>
                  </a:lnTo>
                  <a:lnTo>
                    <a:pt x="114" y="834"/>
                  </a:lnTo>
                  <a:lnTo>
                    <a:pt x="150" y="765"/>
                  </a:lnTo>
                  <a:lnTo>
                    <a:pt x="186" y="668"/>
                  </a:lnTo>
                  <a:lnTo>
                    <a:pt x="207" y="583"/>
                  </a:lnTo>
                  <a:lnTo>
                    <a:pt x="219" y="477"/>
                  </a:lnTo>
                  <a:lnTo>
                    <a:pt x="222" y="393"/>
                  </a:lnTo>
                  <a:lnTo>
                    <a:pt x="219" y="335"/>
                  </a:lnTo>
                  <a:lnTo>
                    <a:pt x="207" y="251"/>
                  </a:lnTo>
                  <a:lnTo>
                    <a:pt x="186" y="169"/>
                  </a:lnTo>
                  <a:lnTo>
                    <a:pt x="165" y="115"/>
                  </a:lnTo>
                  <a:lnTo>
                    <a:pt x="138" y="45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C5E3A1"/>
            </a:solidFill>
            <a:ln w="28575" cap="rnd">
              <a:solidFill>
                <a:schemeClr val="fol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" name="Freeform 2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 flipV="1">
              <a:off x="2841" y="1809"/>
              <a:ext cx="665" cy="371"/>
            </a:xfrm>
            <a:custGeom>
              <a:avLst/>
              <a:gdLst>
                <a:gd name="T0" fmla="*/ 0 w 760"/>
                <a:gd name="T1" fmla="*/ 0 h 423"/>
                <a:gd name="T2" fmla="*/ 9 w 760"/>
                <a:gd name="T3" fmla="*/ 0 h 423"/>
                <a:gd name="T4" fmla="*/ 18 w 760"/>
                <a:gd name="T5" fmla="*/ 4 h 423"/>
                <a:gd name="T6" fmla="*/ 29 w 760"/>
                <a:gd name="T7" fmla="*/ 4 h 423"/>
                <a:gd name="T8" fmla="*/ 40 w 760"/>
                <a:gd name="T9" fmla="*/ 7 h 423"/>
                <a:gd name="T10" fmla="*/ 49 w 760"/>
                <a:gd name="T11" fmla="*/ 10 h 423"/>
                <a:gd name="T12" fmla="*/ 60 w 760"/>
                <a:gd name="T13" fmla="*/ 15 h 423"/>
                <a:gd name="T14" fmla="*/ 69 w 760"/>
                <a:gd name="T15" fmla="*/ 20 h 423"/>
                <a:gd name="T16" fmla="*/ 81 w 760"/>
                <a:gd name="T17" fmla="*/ 28 h 423"/>
                <a:gd name="T18" fmla="*/ 89 w 760"/>
                <a:gd name="T19" fmla="*/ 35 h 423"/>
                <a:gd name="T20" fmla="*/ 100 w 760"/>
                <a:gd name="T21" fmla="*/ 45 h 423"/>
                <a:gd name="T22" fmla="*/ 108 w 760"/>
                <a:gd name="T23" fmla="*/ 54 h 423"/>
                <a:gd name="T24" fmla="*/ 117 w 760"/>
                <a:gd name="T25" fmla="*/ 67 h 423"/>
                <a:gd name="T26" fmla="*/ 108 w 760"/>
                <a:gd name="T27" fmla="*/ 67 h 423"/>
                <a:gd name="T28" fmla="*/ 95 w 760"/>
                <a:gd name="T29" fmla="*/ 66 h 423"/>
                <a:gd name="T30" fmla="*/ 83 w 760"/>
                <a:gd name="T31" fmla="*/ 63 h 423"/>
                <a:gd name="T32" fmla="*/ 71 w 760"/>
                <a:gd name="T33" fmla="*/ 58 h 423"/>
                <a:gd name="T34" fmla="*/ 62 w 760"/>
                <a:gd name="T35" fmla="*/ 54 h 423"/>
                <a:gd name="T36" fmla="*/ 52 w 760"/>
                <a:gd name="T37" fmla="*/ 50 h 423"/>
                <a:gd name="T38" fmla="*/ 41 w 760"/>
                <a:gd name="T39" fmla="*/ 44 h 423"/>
                <a:gd name="T40" fmla="*/ 34 w 760"/>
                <a:gd name="T41" fmla="*/ 38 h 423"/>
                <a:gd name="T42" fmla="*/ 25 w 760"/>
                <a:gd name="T43" fmla="*/ 31 h 423"/>
                <a:gd name="T44" fmla="*/ 18 w 760"/>
                <a:gd name="T45" fmla="*/ 24 h 423"/>
                <a:gd name="T46" fmla="*/ 12 w 760"/>
                <a:gd name="T47" fmla="*/ 18 h 423"/>
                <a:gd name="T48" fmla="*/ 7 w 760"/>
                <a:gd name="T49" fmla="*/ 11 h 423"/>
                <a:gd name="T50" fmla="*/ 4 w 760"/>
                <a:gd name="T51" fmla="*/ 5 h 423"/>
                <a:gd name="T52" fmla="*/ 0 w 760"/>
                <a:gd name="T53" fmla="*/ 0 h 42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60"/>
                <a:gd name="T82" fmla="*/ 0 h 423"/>
                <a:gd name="T83" fmla="*/ 760 w 760"/>
                <a:gd name="T84" fmla="*/ 423 h 42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60" h="423">
                  <a:moveTo>
                    <a:pt x="0" y="0"/>
                  </a:moveTo>
                  <a:lnTo>
                    <a:pt x="52" y="0"/>
                  </a:lnTo>
                  <a:lnTo>
                    <a:pt x="118" y="9"/>
                  </a:lnTo>
                  <a:lnTo>
                    <a:pt x="186" y="24"/>
                  </a:lnTo>
                  <a:lnTo>
                    <a:pt x="253" y="42"/>
                  </a:lnTo>
                  <a:lnTo>
                    <a:pt x="315" y="63"/>
                  </a:lnTo>
                  <a:lnTo>
                    <a:pt x="388" y="93"/>
                  </a:lnTo>
                  <a:lnTo>
                    <a:pt x="448" y="126"/>
                  </a:lnTo>
                  <a:lnTo>
                    <a:pt x="523" y="174"/>
                  </a:lnTo>
                  <a:lnTo>
                    <a:pt x="577" y="219"/>
                  </a:lnTo>
                  <a:lnTo>
                    <a:pt x="640" y="279"/>
                  </a:lnTo>
                  <a:lnTo>
                    <a:pt x="696" y="339"/>
                  </a:lnTo>
                  <a:lnTo>
                    <a:pt x="760" y="423"/>
                  </a:lnTo>
                  <a:lnTo>
                    <a:pt x="694" y="420"/>
                  </a:lnTo>
                  <a:lnTo>
                    <a:pt x="610" y="410"/>
                  </a:lnTo>
                  <a:lnTo>
                    <a:pt x="532" y="393"/>
                  </a:lnTo>
                  <a:lnTo>
                    <a:pt x="451" y="366"/>
                  </a:lnTo>
                  <a:lnTo>
                    <a:pt x="397" y="342"/>
                  </a:lnTo>
                  <a:lnTo>
                    <a:pt x="330" y="311"/>
                  </a:lnTo>
                  <a:lnTo>
                    <a:pt x="271" y="275"/>
                  </a:lnTo>
                  <a:lnTo>
                    <a:pt x="214" y="237"/>
                  </a:lnTo>
                  <a:lnTo>
                    <a:pt x="163" y="192"/>
                  </a:lnTo>
                  <a:lnTo>
                    <a:pt x="112" y="147"/>
                  </a:lnTo>
                  <a:lnTo>
                    <a:pt x="79" y="111"/>
                  </a:lnTo>
                  <a:lnTo>
                    <a:pt x="43" y="66"/>
                  </a:lnTo>
                  <a:lnTo>
                    <a:pt x="21" y="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5E3A1"/>
            </a:solidFill>
            <a:ln w="28575" cap="rnd">
              <a:solidFill>
                <a:schemeClr val="fol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" name="Freeform 2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 flipV="1">
              <a:off x="2145" y="1809"/>
              <a:ext cx="658" cy="368"/>
            </a:xfrm>
            <a:custGeom>
              <a:avLst/>
              <a:gdLst>
                <a:gd name="T0" fmla="*/ 120 w 750"/>
                <a:gd name="T1" fmla="*/ 0 h 420"/>
                <a:gd name="T2" fmla="*/ 118 w 750"/>
                <a:gd name="T3" fmla="*/ 4 h 420"/>
                <a:gd name="T4" fmla="*/ 113 w 750"/>
                <a:gd name="T5" fmla="*/ 9 h 420"/>
                <a:gd name="T6" fmla="*/ 110 w 750"/>
                <a:gd name="T7" fmla="*/ 14 h 420"/>
                <a:gd name="T8" fmla="*/ 106 w 750"/>
                <a:gd name="T9" fmla="*/ 19 h 420"/>
                <a:gd name="T10" fmla="*/ 103 w 750"/>
                <a:gd name="T11" fmla="*/ 23 h 420"/>
                <a:gd name="T12" fmla="*/ 98 w 750"/>
                <a:gd name="T13" fmla="*/ 27 h 420"/>
                <a:gd name="T14" fmla="*/ 91 w 750"/>
                <a:gd name="T15" fmla="*/ 32 h 420"/>
                <a:gd name="T16" fmla="*/ 86 w 750"/>
                <a:gd name="T17" fmla="*/ 36 h 420"/>
                <a:gd name="T18" fmla="*/ 80 w 750"/>
                <a:gd name="T19" fmla="*/ 40 h 420"/>
                <a:gd name="T20" fmla="*/ 72 w 750"/>
                <a:gd name="T21" fmla="*/ 46 h 420"/>
                <a:gd name="T22" fmla="*/ 66 w 750"/>
                <a:gd name="T23" fmla="*/ 50 h 420"/>
                <a:gd name="T24" fmla="*/ 59 w 750"/>
                <a:gd name="T25" fmla="*/ 53 h 420"/>
                <a:gd name="T26" fmla="*/ 51 w 750"/>
                <a:gd name="T27" fmla="*/ 57 h 420"/>
                <a:gd name="T28" fmla="*/ 42 w 750"/>
                <a:gd name="T29" fmla="*/ 59 h 420"/>
                <a:gd name="T30" fmla="*/ 34 w 750"/>
                <a:gd name="T31" fmla="*/ 61 h 420"/>
                <a:gd name="T32" fmla="*/ 24 w 750"/>
                <a:gd name="T33" fmla="*/ 64 h 420"/>
                <a:gd name="T34" fmla="*/ 15 w 750"/>
                <a:gd name="T35" fmla="*/ 65 h 420"/>
                <a:gd name="T36" fmla="*/ 7 w 750"/>
                <a:gd name="T37" fmla="*/ 65 h 420"/>
                <a:gd name="T38" fmla="*/ 0 w 750"/>
                <a:gd name="T39" fmla="*/ 65 h 420"/>
                <a:gd name="T40" fmla="*/ 4 w 750"/>
                <a:gd name="T41" fmla="*/ 60 h 420"/>
                <a:gd name="T42" fmla="*/ 7 w 750"/>
                <a:gd name="T43" fmla="*/ 57 h 420"/>
                <a:gd name="T44" fmla="*/ 10 w 750"/>
                <a:gd name="T45" fmla="*/ 52 h 420"/>
                <a:gd name="T46" fmla="*/ 15 w 750"/>
                <a:gd name="T47" fmla="*/ 46 h 420"/>
                <a:gd name="T48" fmla="*/ 19 w 750"/>
                <a:gd name="T49" fmla="*/ 40 h 420"/>
                <a:gd name="T50" fmla="*/ 25 w 750"/>
                <a:gd name="T51" fmla="*/ 35 h 420"/>
                <a:gd name="T52" fmla="*/ 31 w 750"/>
                <a:gd name="T53" fmla="*/ 31 h 420"/>
                <a:gd name="T54" fmla="*/ 37 w 750"/>
                <a:gd name="T55" fmla="*/ 27 h 420"/>
                <a:gd name="T56" fmla="*/ 42 w 750"/>
                <a:gd name="T57" fmla="*/ 24 h 420"/>
                <a:gd name="T58" fmla="*/ 47 w 750"/>
                <a:gd name="T59" fmla="*/ 20 h 420"/>
                <a:gd name="T60" fmla="*/ 55 w 750"/>
                <a:gd name="T61" fmla="*/ 16 h 420"/>
                <a:gd name="T62" fmla="*/ 61 w 750"/>
                <a:gd name="T63" fmla="*/ 13 h 420"/>
                <a:gd name="T64" fmla="*/ 68 w 750"/>
                <a:gd name="T65" fmla="*/ 11 h 420"/>
                <a:gd name="T66" fmla="*/ 75 w 750"/>
                <a:gd name="T67" fmla="*/ 9 h 420"/>
                <a:gd name="T68" fmla="*/ 80 w 750"/>
                <a:gd name="T69" fmla="*/ 7 h 420"/>
                <a:gd name="T70" fmla="*/ 87 w 750"/>
                <a:gd name="T71" fmla="*/ 4 h 420"/>
                <a:gd name="T72" fmla="*/ 93 w 750"/>
                <a:gd name="T73" fmla="*/ 4 h 420"/>
                <a:gd name="T74" fmla="*/ 102 w 750"/>
                <a:gd name="T75" fmla="*/ 4 h 420"/>
                <a:gd name="T76" fmla="*/ 110 w 750"/>
                <a:gd name="T77" fmla="*/ 3 h 420"/>
                <a:gd name="T78" fmla="*/ 117 w 750"/>
                <a:gd name="T79" fmla="*/ 0 h 420"/>
                <a:gd name="T80" fmla="*/ 120 w 750"/>
                <a:gd name="T81" fmla="*/ 0 h 42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50"/>
                <a:gd name="T124" fmla="*/ 0 h 420"/>
                <a:gd name="T125" fmla="*/ 750 w 750"/>
                <a:gd name="T126" fmla="*/ 420 h 42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50" h="420">
                  <a:moveTo>
                    <a:pt x="750" y="0"/>
                  </a:moveTo>
                  <a:lnTo>
                    <a:pt x="736" y="23"/>
                  </a:lnTo>
                  <a:lnTo>
                    <a:pt x="714" y="54"/>
                  </a:lnTo>
                  <a:lnTo>
                    <a:pt x="687" y="90"/>
                  </a:lnTo>
                  <a:lnTo>
                    <a:pt x="660" y="120"/>
                  </a:lnTo>
                  <a:lnTo>
                    <a:pt x="639" y="146"/>
                  </a:lnTo>
                  <a:lnTo>
                    <a:pt x="612" y="168"/>
                  </a:lnTo>
                  <a:lnTo>
                    <a:pt x="573" y="206"/>
                  </a:lnTo>
                  <a:lnTo>
                    <a:pt x="537" y="234"/>
                  </a:lnTo>
                  <a:lnTo>
                    <a:pt x="496" y="264"/>
                  </a:lnTo>
                  <a:lnTo>
                    <a:pt x="451" y="293"/>
                  </a:lnTo>
                  <a:lnTo>
                    <a:pt x="409" y="317"/>
                  </a:lnTo>
                  <a:lnTo>
                    <a:pt x="366" y="336"/>
                  </a:lnTo>
                  <a:lnTo>
                    <a:pt x="316" y="357"/>
                  </a:lnTo>
                  <a:lnTo>
                    <a:pt x="268" y="374"/>
                  </a:lnTo>
                  <a:lnTo>
                    <a:pt x="210" y="392"/>
                  </a:lnTo>
                  <a:lnTo>
                    <a:pt x="148" y="405"/>
                  </a:lnTo>
                  <a:lnTo>
                    <a:pt x="93" y="414"/>
                  </a:lnTo>
                  <a:lnTo>
                    <a:pt x="43" y="419"/>
                  </a:lnTo>
                  <a:lnTo>
                    <a:pt x="0" y="420"/>
                  </a:lnTo>
                  <a:lnTo>
                    <a:pt x="21" y="386"/>
                  </a:lnTo>
                  <a:lnTo>
                    <a:pt x="40" y="357"/>
                  </a:lnTo>
                  <a:lnTo>
                    <a:pt x="64" y="329"/>
                  </a:lnTo>
                  <a:lnTo>
                    <a:pt x="93" y="294"/>
                  </a:lnTo>
                  <a:lnTo>
                    <a:pt x="123" y="263"/>
                  </a:lnTo>
                  <a:lnTo>
                    <a:pt x="159" y="231"/>
                  </a:lnTo>
                  <a:lnTo>
                    <a:pt x="196" y="198"/>
                  </a:lnTo>
                  <a:lnTo>
                    <a:pt x="235" y="168"/>
                  </a:lnTo>
                  <a:lnTo>
                    <a:pt x="265" y="149"/>
                  </a:lnTo>
                  <a:lnTo>
                    <a:pt x="300" y="126"/>
                  </a:lnTo>
                  <a:lnTo>
                    <a:pt x="345" y="104"/>
                  </a:lnTo>
                  <a:lnTo>
                    <a:pt x="387" y="83"/>
                  </a:lnTo>
                  <a:lnTo>
                    <a:pt x="429" y="66"/>
                  </a:lnTo>
                  <a:lnTo>
                    <a:pt x="469" y="51"/>
                  </a:lnTo>
                  <a:lnTo>
                    <a:pt x="505" y="39"/>
                  </a:lnTo>
                  <a:lnTo>
                    <a:pt x="544" y="27"/>
                  </a:lnTo>
                  <a:lnTo>
                    <a:pt x="583" y="18"/>
                  </a:lnTo>
                  <a:lnTo>
                    <a:pt x="630" y="11"/>
                  </a:lnTo>
                  <a:lnTo>
                    <a:pt x="679" y="3"/>
                  </a:lnTo>
                  <a:lnTo>
                    <a:pt x="733" y="0"/>
                  </a:lnTo>
                  <a:lnTo>
                    <a:pt x="750" y="0"/>
                  </a:lnTo>
                  <a:close/>
                </a:path>
              </a:pathLst>
            </a:custGeom>
            <a:solidFill>
              <a:srgbClr val="C5E3A1"/>
            </a:solidFill>
            <a:ln w="28575" cap="rnd">
              <a:solidFill>
                <a:schemeClr val="fol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4454940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444958"/>
            <a:ext cx="9144000" cy="981075"/>
          </a:xfrm>
        </p:spPr>
        <p:txBody>
          <a:bodyPr>
            <a:noAutofit/>
          </a:bodyPr>
          <a:lstStyle/>
          <a:p>
            <a:r>
              <a:rPr lang="ru-RU" sz="3600" dirty="0">
                <a:solidFill>
                  <a:srgbClr val="C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щая схема реализации Программы РПС</a:t>
            </a:r>
          </a:p>
        </p:txBody>
      </p:sp>
      <p:sp>
        <p:nvSpPr>
          <p:cNvPr id="5" name="Выноска со стрелкой вправо 4"/>
          <p:cNvSpPr/>
          <p:nvPr/>
        </p:nvSpPr>
        <p:spPr>
          <a:xfrm>
            <a:off x="107504" y="2348880"/>
            <a:ext cx="2051720" cy="3384376"/>
          </a:xfrm>
          <a:prstGeom prst="rightArrowCallou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black"/>
                </a:solidFill>
              </a:rPr>
              <a:t>Согласован</a:t>
            </a:r>
          </a:p>
          <a:p>
            <a:pPr algn="ctr"/>
            <a:r>
              <a:rPr lang="ru-RU" sz="1200" b="1" dirty="0" err="1" smtClean="0">
                <a:solidFill>
                  <a:prstClr val="black"/>
                </a:solidFill>
              </a:rPr>
              <a:t>ные</a:t>
            </a:r>
            <a:r>
              <a:rPr lang="ru-RU" sz="1200" b="1" dirty="0" smtClean="0">
                <a:solidFill>
                  <a:prstClr val="black"/>
                </a:solidFill>
              </a:rPr>
              <a:t> цели программы, сформированные цели проектов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448216" y="2334592"/>
            <a:ext cx="1537904" cy="338437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200" b="1" dirty="0" smtClean="0">
                <a:solidFill>
                  <a:prstClr val="black"/>
                </a:solidFill>
              </a:rPr>
              <a:t>Всеобщая производственное обслуживание (ТРМ)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085687" y="2330598"/>
            <a:ext cx="1486881" cy="338437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200" b="1" dirty="0" smtClean="0">
                <a:solidFill>
                  <a:prstClr val="black"/>
                </a:solidFill>
              </a:rPr>
              <a:t>Быстрая переналадка оборудования (</a:t>
            </a:r>
            <a:r>
              <a:rPr lang="en-US" sz="1200" b="1" dirty="0" smtClean="0">
                <a:solidFill>
                  <a:prstClr val="black"/>
                </a:solidFill>
              </a:rPr>
              <a:t>SMED</a:t>
            </a:r>
            <a:r>
              <a:rPr lang="ru-RU" sz="1200" b="1" dirty="0" smtClean="0">
                <a:solidFill>
                  <a:prstClr val="black"/>
                </a:solidFill>
              </a:rPr>
              <a:t>)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686304" y="2319736"/>
            <a:ext cx="1427151" cy="338437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200" b="1" dirty="0" smtClean="0">
                <a:solidFill>
                  <a:prstClr val="black"/>
                </a:solidFill>
              </a:rPr>
              <a:t>Стандартизированная работа 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224387" y="2332880"/>
            <a:ext cx="1446736" cy="338437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200" b="1" dirty="0" smtClean="0">
                <a:solidFill>
                  <a:prstClr val="black"/>
                </a:solidFill>
              </a:rPr>
              <a:t>Система «точно вовремя»</a:t>
            </a:r>
          </a:p>
          <a:p>
            <a:pPr algn="ctr"/>
            <a:r>
              <a:rPr lang="ru-RU" sz="1200" b="1" dirty="0" smtClean="0">
                <a:solidFill>
                  <a:prstClr val="black"/>
                </a:solidFill>
              </a:rPr>
              <a:t> (</a:t>
            </a:r>
            <a:r>
              <a:rPr lang="en-US" sz="1200" b="1" dirty="0" err="1" smtClean="0">
                <a:solidFill>
                  <a:prstClr val="black"/>
                </a:solidFill>
              </a:rPr>
              <a:t>JiT</a:t>
            </a:r>
            <a:r>
              <a:rPr lang="ru-RU" sz="1200" b="1" dirty="0" smtClean="0">
                <a:solidFill>
                  <a:prstClr val="black"/>
                </a:solidFill>
              </a:rPr>
              <a:t>,</a:t>
            </a:r>
            <a:r>
              <a:rPr lang="en-US" sz="1200" b="1" dirty="0" smtClean="0">
                <a:solidFill>
                  <a:prstClr val="black"/>
                </a:solidFill>
              </a:rPr>
              <a:t>KANBAN</a:t>
            </a:r>
            <a:r>
              <a:rPr lang="ru-RU" sz="1200" b="1" dirty="0" smtClean="0">
                <a:solidFill>
                  <a:prstClr val="black"/>
                </a:solidFill>
              </a:rPr>
              <a:t>)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419640" y="1809208"/>
            <a:ext cx="6273992" cy="5248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black"/>
                </a:solidFill>
              </a:rPr>
              <a:t>Реализация этапов программы РПС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441474" y="5704112"/>
            <a:ext cx="6273992" cy="5248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black"/>
                </a:solidFill>
              </a:rPr>
              <a:t>Нормативно – техническая документация</a:t>
            </a: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13" name="Стрелка вправо 12"/>
          <p:cNvSpPr/>
          <p:nvPr/>
        </p:nvSpPr>
        <p:spPr>
          <a:xfrm>
            <a:off x="1455762" y="3140356"/>
            <a:ext cx="6258225" cy="852124"/>
          </a:xfrm>
          <a:prstGeom prst="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</a:rPr>
              <a:t>Проект 1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4" name="Стрелка вправо 13"/>
          <p:cNvSpPr/>
          <p:nvPr/>
        </p:nvSpPr>
        <p:spPr>
          <a:xfrm>
            <a:off x="1450994" y="3764260"/>
            <a:ext cx="6258225" cy="852124"/>
          </a:xfrm>
          <a:prstGeom prst="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</a:rPr>
              <a:t>Проект 2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" name="Стрелка вправо 14"/>
          <p:cNvSpPr/>
          <p:nvPr/>
        </p:nvSpPr>
        <p:spPr>
          <a:xfrm>
            <a:off x="1446226" y="4388164"/>
            <a:ext cx="6258225" cy="852124"/>
          </a:xfrm>
          <a:prstGeom prst="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</a:rPr>
              <a:t>Проект 3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6" name="Стрелка вправо 15"/>
          <p:cNvSpPr/>
          <p:nvPr/>
        </p:nvSpPr>
        <p:spPr>
          <a:xfrm>
            <a:off x="1455746" y="5012068"/>
            <a:ext cx="6258225" cy="852124"/>
          </a:xfrm>
          <a:prstGeom prst="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</a:rPr>
              <a:t>Проект </a:t>
            </a:r>
            <a:r>
              <a:rPr lang="en-US" dirty="0" smtClean="0">
                <a:solidFill>
                  <a:prstClr val="black"/>
                </a:solidFill>
              </a:rPr>
              <a:t>N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7674411" y="2348880"/>
            <a:ext cx="1331640" cy="338437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black"/>
                </a:solidFill>
              </a:rPr>
              <a:t>Достижение целей программы. Защита программы</a:t>
            </a:r>
            <a:endParaRPr lang="ru-RU" sz="12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173642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500"/>
                            </p:stCondLst>
                            <p:childTnLst>
                              <p:par>
                                <p:cTn id="41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755650" y="2058988"/>
            <a:ext cx="7496175" cy="73025"/>
            <a:chOff x="1037" y="4177"/>
            <a:chExt cx="4722" cy="46"/>
          </a:xfrm>
        </p:grpSpPr>
        <p:sp>
          <p:nvSpPr>
            <p:cNvPr id="14375" name="Rectangle 8"/>
            <p:cNvSpPr>
              <a:spLocks noChangeArrowheads="1"/>
            </p:cNvSpPr>
            <p:nvPr/>
          </p:nvSpPr>
          <p:spPr bwMode="auto">
            <a:xfrm>
              <a:off x="2080" y="4177"/>
              <a:ext cx="2971" cy="46"/>
            </a:xfrm>
            <a:prstGeom prst="rect">
              <a:avLst/>
            </a:prstGeom>
            <a:gradFill rotWithShape="0">
              <a:gsLst>
                <a:gs pos="0">
                  <a:srgbClr val="FFCC00"/>
                </a:gs>
                <a:gs pos="100000">
                  <a:srgbClr val="FF66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</p:spPr>
          <p:txBody>
            <a:bodyPr wrap="none" lIns="91432" tIns="45716" rIns="91432" bIns="45716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376" name="Rectangle 9"/>
            <p:cNvSpPr>
              <a:spLocks noChangeArrowheads="1"/>
            </p:cNvSpPr>
            <p:nvPr/>
          </p:nvSpPr>
          <p:spPr bwMode="auto">
            <a:xfrm>
              <a:off x="1037" y="4178"/>
              <a:ext cx="1043" cy="45"/>
            </a:xfrm>
            <a:prstGeom prst="rect">
              <a:avLst/>
            </a:prstGeom>
            <a:gradFill rotWithShape="0">
              <a:gsLst>
                <a:gs pos="0">
                  <a:srgbClr val="FF6600"/>
                </a:gs>
                <a:gs pos="100000">
                  <a:srgbClr val="FF33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</p:spPr>
          <p:txBody>
            <a:bodyPr wrap="none" lIns="91432" tIns="45716" rIns="91432" bIns="45716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377" name="Rectangle 10"/>
            <p:cNvSpPr>
              <a:spLocks noChangeArrowheads="1"/>
            </p:cNvSpPr>
            <p:nvPr/>
          </p:nvSpPr>
          <p:spPr bwMode="auto">
            <a:xfrm>
              <a:off x="4853" y="4178"/>
              <a:ext cx="907" cy="46"/>
            </a:xfrm>
            <a:prstGeom prst="rect">
              <a:avLst/>
            </a:prstGeom>
            <a:gradFill rotWithShape="0">
              <a:gsLst>
                <a:gs pos="0">
                  <a:srgbClr val="B2B2B2"/>
                </a:gs>
                <a:gs pos="100000">
                  <a:srgbClr val="FFCC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</p:spPr>
          <p:txBody>
            <a:bodyPr wrap="none" lIns="91432" tIns="45716" rIns="91432" bIns="45716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3" name="Group 7"/>
          <p:cNvGrpSpPr>
            <a:grpSpLocks/>
          </p:cNvGrpSpPr>
          <p:nvPr/>
        </p:nvGrpSpPr>
        <p:grpSpPr bwMode="auto">
          <a:xfrm>
            <a:off x="827088" y="3787775"/>
            <a:ext cx="7496175" cy="73025"/>
            <a:chOff x="1037" y="4177"/>
            <a:chExt cx="4722" cy="46"/>
          </a:xfrm>
        </p:grpSpPr>
        <p:sp>
          <p:nvSpPr>
            <p:cNvPr id="14372" name="Rectangle 8"/>
            <p:cNvSpPr>
              <a:spLocks noChangeArrowheads="1"/>
            </p:cNvSpPr>
            <p:nvPr/>
          </p:nvSpPr>
          <p:spPr bwMode="auto">
            <a:xfrm>
              <a:off x="2080" y="4177"/>
              <a:ext cx="2971" cy="46"/>
            </a:xfrm>
            <a:prstGeom prst="rect">
              <a:avLst/>
            </a:prstGeom>
            <a:gradFill rotWithShape="0">
              <a:gsLst>
                <a:gs pos="0">
                  <a:srgbClr val="FFCC00"/>
                </a:gs>
                <a:gs pos="100000">
                  <a:srgbClr val="FF66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</p:spPr>
          <p:txBody>
            <a:bodyPr wrap="none" lIns="91432" tIns="45716" rIns="91432" bIns="45716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373" name="Rectangle 9"/>
            <p:cNvSpPr>
              <a:spLocks noChangeArrowheads="1"/>
            </p:cNvSpPr>
            <p:nvPr/>
          </p:nvSpPr>
          <p:spPr bwMode="auto">
            <a:xfrm>
              <a:off x="1037" y="4178"/>
              <a:ext cx="1043" cy="45"/>
            </a:xfrm>
            <a:prstGeom prst="rect">
              <a:avLst/>
            </a:prstGeom>
            <a:gradFill rotWithShape="0">
              <a:gsLst>
                <a:gs pos="0">
                  <a:srgbClr val="FF6600"/>
                </a:gs>
                <a:gs pos="100000">
                  <a:srgbClr val="FF33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</p:spPr>
          <p:txBody>
            <a:bodyPr wrap="none" lIns="91432" tIns="45716" rIns="91432" bIns="45716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374" name="Rectangle 10"/>
            <p:cNvSpPr>
              <a:spLocks noChangeArrowheads="1"/>
            </p:cNvSpPr>
            <p:nvPr/>
          </p:nvSpPr>
          <p:spPr bwMode="auto">
            <a:xfrm>
              <a:off x="4853" y="4178"/>
              <a:ext cx="907" cy="46"/>
            </a:xfrm>
            <a:prstGeom prst="rect">
              <a:avLst/>
            </a:prstGeom>
            <a:gradFill rotWithShape="0">
              <a:gsLst>
                <a:gs pos="0">
                  <a:srgbClr val="B2B2B2"/>
                </a:gs>
                <a:gs pos="100000">
                  <a:srgbClr val="FFCC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</p:spPr>
          <p:txBody>
            <a:bodyPr wrap="none" lIns="91432" tIns="45716" rIns="91432" bIns="45716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4" name="Group 7"/>
          <p:cNvGrpSpPr>
            <a:grpSpLocks/>
          </p:cNvGrpSpPr>
          <p:nvPr/>
        </p:nvGrpSpPr>
        <p:grpSpPr bwMode="auto">
          <a:xfrm>
            <a:off x="827088" y="5588000"/>
            <a:ext cx="7496175" cy="73025"/>
            <a:chOff x="1037" y="4177"/>
            <a:chExt cx="4722" cy="46"/>
          </a:xfrm>
        </p:grpSpPr>
        <p:sp>
          <p:nvSpPr>
            <p:cNvPr id="14369" name="Rectangle 8"/>
            <p:cNvSpPr>
              <a:spLocks noChangeArrowheads="1"/>
            </p:cNvSpPr>
            <p:nvPr/>
          </p:nvSpPr>
          <p:spPr bwMode="auto">
            <a:xfrm>
              <a:off x="2080" y="4177"/>
              <a:ext cx="2971" cy="46"/>
            </a:xfrm>
            <a:prstGeom prst="rect">
              <a:avLst/>
            </a:prstGeom>
            <a:gradFill rotWithShape="0">
              <a:gsLst>
                <a:gs pos="0">
                  <a:srgbClr val="FFCC00"/>
                </a:gs>
                <a:gs pos="100000">
                  <a:srgbClr val="FF66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</p:spPr>
          <p:txBody>
            <a:bodyPr wrap="none" lIns="91432" tIns="45716" rIns="91432" bIns="45716" anchor="ctr"/>
            <a:lstStyle/>
            <a:p>
              <a:endParaRPr lang="en-US" sz="1100">
                <a:solidFill>
                  <a:prstClr val="black"/>
                </a:solidFill>
              </a:endParaRPr>
            </a:p>
          </p:txBody>
        </p:sp>
        <p:sp>
          <p:nvSpPr>
            <p:cNvPr id="14370" name="Rectangle 9"/>
            <p:cNvSpPr>
              <a:spLocks noChangeArrowheads="1"/>
            </p:cNvSpPr>
            <p:nvPr/>
          </p:nvSpPr>
          <p:spPr bwMode="auto">
            <a:xfrm>
              <a:off x="1037" y="4178"/>
              <a:ext cx="1043" cy="45"/>
            </a:xfrm>
            <a:prstGeom prst="rect">
              <a:avLst/>
            </a:prstGeom>
            <a:gradFill rotWithShape="0">
              <a:gsLst>
                <a:gs pos="0">
                  <a:srgbClr val="FF6600"/>
                </a:gs>
                <a:gs pos="100000">
                  <a:srgbClr val="FF33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</p:spPr>
          <p:txBody>
            <a:bodyPr wrap="none" lIns="91432" tIns="45716" rIns="91432" bIns="45716" anchor="ctr"/>
            <a:lstStyle/>
            <a:p>
              <a:endParaRPr lang="en-US" sz="1100">
                <a:solidFill>
                  <a:prstClr val="black"/>
                </a:solidFill>
              </a:endParaRPr>
            </a:p>
          </p:txBody>
        </p:sp>
        <p:sp>
          <p:nvSpPr>
            <p:cNvPr id="14371" name="Rectangle 10"/>
            <p:cNvSpPr>
              <a:spLocks noChangeArrowheads="1"/>
            </p:cNvSpPr>
            <p:nvPr/>
          </p:nvSpPr>
          <p:spPr bwMode="auto">
            <a:xfrm>
              <a:off x="4853" y="4178"/>
              <a:ext cx="907" cy="46"/>
            </a:xfrm>
            <a:prstGeom prst="rect">
              <a:avLst/>
            </a:prstGeom>
            <a:gradFill rotWithShape="0">
              <a:gsLst>
                <a:gs pos="0">
                  <a:srgbClr val="B2B2B2"/>
                </a:gs>
                <a:gs pos="100000">
                  <a:srgbClr val="FFCC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</p:spPr>
          <p:txBody>
            <a:bodyPr wrap="none" lIns="91432" tIns="45716" rIns="91432" bIns="45716" anchor="ctr"/>
            <a:lstStyle/>
            <a:p>
              <a:endParaRPr lang="en-US" sz="1100">
                <a:solidFill>
                  <a:prstClr val="black"/>
                </a:solidFill>
              </a:endParaRPr>
            </a:p>
          </p:txBody>
        </p:sp>
      </p:grpSp>
      <p:sp>
        <p:nvSpPr>
          <p:cNvPr id="6150" name="TextBox 17"/>
          <p:cNvSpPr txBox="1">
            <a:spLocks noChangeArrowheads="1"/>
          </p:cNvSpPr>
          <p:nvPr/>
        </p:nvSpPr>
        <p:spPr bwMode="auto">
          <a:xfrm>
            <a:off x="35495" y="44450"/>
            <a:ext cx="9049767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3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дии успешного </a:t>
            </a:r>
            <a:r>
              <a:rPr lang="ru-RU" sz="36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н-преобразования</a:t>
            </a:r>
            <a:r>
              <a:rPr lang="ru-RU" sz="3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модель </a:t>
            </a:r>
            <a:r>
              <a:rPr lang="ru-RU" sz="36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кмена</a:t>
            </a:r>
            <a:r>
              <a:rPr lang="ru-RU" sz="3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36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7"/>
          <p:cNvGrpSpPr>
            <a:grpSpLocks/>
          </p:cNvGrpSpPr>
          <p:nvPr/>
        </p:nvGrpSpPr>
        <p:grpSpPr bwMode="auto">
          <a:xfrm rot="16200000" flipV="1">
            <a:off x="2014538" y="3992563"/>
            <a:ext cx="5305425" cy="47625"/>
            <a:chOff x="1037" y="4177"/>
            <a:chExt cx="4722" cy="46"/>
          </a:xfrm>
        </p:grpSpPr>
        <p:sp>
          <p:nvSpPr>
            <p:cNvPr id="14366" name="Rectangle 8"/>
            <p:cNvSpPr>
              <a:spLocks noChangeArrowheads="1"/>
            </p:cNvSpPr>
            <p:nvPr/>
          </p:nvSpPr>
          <p:spPr bwMode="auto">
            <a:xfrm>
              <a:off x="2080" y="4177"/>
              <a:ext cx="2971" cy="46"/>
            </a:xfrm>
            <a:prstGeom prst="rect">
              <a:avLst/>
            </a:prstGeom>
            <a:gradFill rotWithShape="0">
              <a:gsLst>
                <a:gs pos="0">
                  <a:srgbClr val="FFCC00"/>
                </a:gs>
                <a:gs pos="100000">
                  <a:srgbClr val="FF66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</p:spPr>
          <p:txBody>
            <a:bodyPr wrap="none" lIns="91432" tIns="45716" rIns="91432" bIns="45716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367" name="Rectangle 9"/>
            <p:cNvSpPr>
              <a:spLocks noChangeArrowheads="1"/>
            </p:cNvSpPr>
            <p:nvPr/>
          </p:nvSpPr>
          <p:spPr bwMode="auto">
            <a:xfrm>
              <a:off x="1037" y="4178"/>
              <a:ext cx="1043" cy="45"/>
            </a:xfrm>
            <a:prstGeom prst="rect">
              <a:avLst/>
            </a:prstGeom>
            <a:gradFill rotWithShape="0">
              <a:gsLst>
                <a:gs pos="0">
                  <a:srgbClr val="FF6600"/>
                </a:gs>
                <a:gs pos="100000">
                  <a:srgbClr val="FF33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</p:spPr>
          <p:txBody>
            <a:bodyPr wrap="none" lIns="91432" tIns="45716" rIns="91432" bIns="45716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368" name="Rectangle 10"/>
            <p:cNvSpPr>
              <a:spLocks noChangeArrowheads="1"/>
            </p:cNvSpPr>
            <p:nvPr/>
          </p:nvSpPr>
          <p:spPr bwMode="auto">
            <a:xfrm>
              <a:off x="4853" y="4178"/>
              <a:ext cx="907" cy="46"/>
            </a:xfrm>
            <a:prstGeom prst="rect">
              <a:avLst/>
            </a:prstGeom>
            <a:gradFill rotWithShape="0">
              <a:gsLst>
                <a:gs pos="0">
                  <a:srgbClr val="B2B2B2"/>
                </a:gs>
                <a:gs pos="100000">
                  <a:srgbClr val="FFCC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</p:spPr>
          <p:txBody>
            <a:bodyPr wrap="none" lIns="91432" tIns="45716" rIns="91432" bIns="45716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6" name="Group 7"/>
          <p:cNvGrpSpPr>
            <a:grpSpLocks/>
          </p:cNvGrpSpPr>
          <p:nvPr/>
        </p:nvGrpSpPr>
        <p:grpSpPr bwMode="auto">
          <a:xfrm rot="16200000" flipV="1">
            <a:off x="4391819" y="3967956"/>
            <a:ext cx="5303838" cy="47625"/>
            <a:chOff x="1037" y="4177"/>
            <a:chExt cx="4722" cy="46"/>
          </a:xfrm>
        </p:grpSpPr>
        <p:sp>
          <p:nvSpPr>
            <p:cNvPr id="14363" name="Rectangle 8"/>
            <p:cNvSpPr>
              <a:spLocks noChangeArrowheads="1"/>
            </p:cNvSpPr>
            <p:nvPr/>
          </p:nvSpPr>
          <p:spPr bwMode="auto">
            <a:xfrm>
              <a:off x="2080" y="4177"/>
              <a:ext cx="2971" cy="46"/>
            </a:xfrm>
            <a:prstGeom prst="rect">
              <a:avLst/>
            </a:prstGeom>
            <a:gradFill rotWithShape="0">
              <a:gsLst>
                <a:gs pos="0">
                  <a:srgbClr val="FFCC00"/>
                </a:gs>
                <a:gs pos="100000">
                  <a:srgbClr val="FF66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</p:spPr>
          <p:txBody>
            <a:bodyPr wrap="none" lIns="91432" tIns="45716" rIns="91432" bIns="45716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364" name="Rectangle 9"/>
            <p:cNvSpPr>
              <a:spLocks noChangeArrowheads="1"/>
            </p:cNvSpPr>
            <p:nvPr/>
          </p:nvSpPr>
          <p:spPr bwMode="auto">
            <a:xfrm>
              <a:off x="1037" y="4178"/>
              <a:ext cx="1043" cy="45"/>
            </a:xfrm>
            <a:prstGeom prst="rect">
              <a:avLst/>
            </a:prstGeom>
            <a:gradFill rotWithShape="0">
              <a:gsLst>
                <a:gs pos="0">
                  <a:srgbClr val="FF6600"/>
                </a:gs>
                <a:gs pos="100000">
                  <a:srgbClr val="FF33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</p:spPr>
          <p:txBody>
            <a:bodyPr wrap="none" lIns="91432" tIns="45716" rIns="91432" bIns="45716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365" name="Rectangle 10"/>
            <p:cNvSpPr>
              <a:spLocks noChangeArrowheads="1"/>
            </p:cNvSpPr>
            <p:nvPr/>
          </p:nvSpPr>
          <p:spPr bwMode="auto">
            <a:xfrm>
              <a:off x="4853" y="4178"/>
              <a:ext cx="907" cy="46"/>
            </a:xfrm>
            <a:prstGeom prst="rect">
              <a:avLst/>
            </a:prstGeom>
            <a:gradFill rotWithShape="0">
              <a:gsLst>
                <a:gs pos="0">
                  <a:srgbClr val="B2B2B2"/>
                </a:gs>
                <a:gs pos="100000">
                  <a:srgbClr val="FFCC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</p:spPr>
          <p:txBody>
            <a:bodyPr wrap="none" lIns="91432" tIns="45716" rIns="91432" bIns="45716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7" name="Group 7"/>
          <p:cNvGrpSpPr>
            <a:grpSpLocks/>
          </p:cNvGrpSpPr>
          <p:nvPr/>
        </p:nvGrpSpPr>
        <p:grpSpPr bwMode="auto">
          <a:xfrm rot="16200000" flipV="1">
            <a:off x="-288131" y="3967956"/>
            <a:ext cx="5303838" cy="47625"/>
            <a:chOff x="1037" y="4177"/>
            <a:chExt cx="4722" cy="46"/>
          </a:xfrm>
        </p:grpSpPr>
        <p:sp>
          <p:nvSpPr>
            <p:cNvPr id="14360" name="Rectangle 8"/>
            <p:cNvSpPr>
              <a:spLocks noChangeArrowheads="1"/>
            </p:cNvSpPr>
            <p:nvPr/>
          </p:nvSpPr>
          <p:spPr bwMode="auto">
            <a:xfrm>
              <a:off x="2080" y="4177"/>
              <a:ext cx="2971" cy="46"/>
            </a:xfrm>
            <a:prstGeom prst="rect">
              <a:avLst/>
            </a:prstGeom>
            <a:gradFill rotWithShape="0">
              <a:gsLst>
                <a:gs pos="0">
                  <a:srgbClr val="FFCC00"/>
                </a:gs>
                <a:gs pos="100000">
                  <a:srgbClr val="FF66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</p:spPr>
          <p:txBody>
            <a:bodyPr wrap="none" lIns="91432" tIns="45716" rIns="91432" bIns="45716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361" name="Rectangle 9"/>
            <p:cNvSpPr>
              <a:spLocks noChangeArrowheads="1"/>
            </p:cNvSpPr>
            <p:nvPr/>
          </p:nvSpPr>
          <p:spPr bwMode="auto">
            <a:xfrm>
              <a:off x="1037" y="4178"/>
              <a:ext cx="1043" cy="45"/>
            </a:xfrm>
            <a:prstGeom prst="rect">
              <a:avLst/>
            </a:prstGeom>
            <a:gradFill rotWithShape="0">
              <a:gsLst>
                <a:gs pos="0">
                  <a:srgbClr val="FF6600"/>
                </a:gs>
                <a:gs pos="100000">
                  <a:srgbClr val="FF33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</p:spPr>
          <p:txBody>
            <a:bodyPr wrap="none" lIns="91432" tIns="45716" rIns="91432" bIns="45716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362" name="Rectangle 10"/>
            <p:cNvSpPr>
              <a:spLocks noChangeArrowheads="1"/>
            </p:cNvSpPr>
            <p:nvPr/>
          </p:nvSpPr>
          <p:spPr bwMode="auto">
            <a:xfrm>
              <a:off x="4853" y="4178"/>
              <a:ext cx="907" cy="46"/>
            </a:xfrm>
            <a:prstGeom prst="rect">
              <a:avLst/>
            </a:prstGeom>
            <a:gradFill rotWithShape="0">
              <a:gsLst>
                <a:gs pos="0">
                  <a:srgbClr val="B2B2B2"/>
                </a:gs>
                <a:gs pos="100000">
                  <a:srgbClr val="FFCC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</p:spPr>
          <p:txBody>
            <a:bodyPr wrap="none" lIns="91432" tIns="45716" rIns="91432" bIns="45716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4345" name="TextBox 43"/>
          <p:cNvSpPr txBox="1">
            <a:spLocks noChangeArrowheads="1"/>
          </p:cNvSpPr>
          <p:nvPr/>
        </p:nvSpPr>
        <p:spPr bwMode="auto">
          <a:xfrm>
            <a:off x="0" y="2852738"/>
            <a:ext cx="2195513" cy="1077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3200">
                <a:solidFill>
                  <a:prstClr val="black"/>
                </a:solidFill>
              </a:rPr>
              <a:t>Форми-рование</a:t>
            </a: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14346" name="TextBox 44"/>
          <p:cNvSpPr txBox="1">
            <a:spLocks noChangeArrowheads="1"/>
          </p:cNvSpPr>
          <p:nvPr/>
        </p:nvSpPr>
        <p:spPr bwMode="auto">
          <a:xfrm>
            <a:off x="2627313" y="4724400"/>
            <a:ext cx="187325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200">
                <a:solidFill>
                  <a:prstClr val="black"/>
                </a:solidFill>
              </a:rPr>
              <a:t>Шторм</a:t>
            </a: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14347" name="TextBox 45"/>
          <p:cNvSpPr txBox="1">
            <a:spLocks noChangeArrowheads="1"/>
          </p:cNvSpPr>
          <p:nvPr/>
        </p:nvSpPr>
        <p:spPr bwMode="auto">
          <a:xfrm>
            <a:off x="5003800" y="3068638"/>
            <a:ext cx="1944464" cy="1077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3200" dirty="0">
                <a:solidFill>
                  <a:prstClr val="black"/>
                </a:solidFill>
              </a:rPr>
              <a:t>Приход в норму</a:t>
            </a:r>
            <a:endParaRPr lang="en-US" sz="3200" dirty="0">
              <a:solidFill>
                <a:prstClr val="black"/>
              </a:solidFill>
            </a:endParaRPr>
          </a:p>
        </p:txBody>
      </p:sp>
      <p:sp>
        <p:nvSpPr>
          <p:cNvPr id="14348" name="TextBox 46"/>
          <p:cNvSpPr txBox="1">
            <a:spLocks noChangeArrowheads="1"/>
          </p:cNvSpPr>
          <p:nvPr/>
        </p:nvSpPr>
        <p:spPr bwMode="auto">
          <a:xfrm>
            <a:off x="6948264" y="1628801"/>
            <a:ext cx="2195736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prstClr val="black"/>
                </a:solidFill>
              </a:rPr>
              <a:t>Производительность</a:t>
            </a:r>
            <a:endParaRPr lang="en-US" sz="2800" dirty="0">
              <a:solidFill>
                <a:prstClr val="black"/>
              </a:solidFill>
            </a:endParaRPr>
          </a:p>
        </p:txBody>
      </p:sp>
      <p:sp>
        <p:nvSpPr>
          <p:cNvPr id="14349" name="Lightning Bolt 34"/>
          <p:cNvSpPr>
            <a:spLocks noChangeArrowheads="1"/>
          </p:cNvSpPr>
          <p:nvPr/>
        </p:nvSpPr>
        <p:spPr bwMode="auto">
          <a:xfrm>
            <a:off x="2700338" y="3500438"/>
            <a:ext cx="1584325" cy="1441450"/>
          </a:xfrm>
          <a:prstGeom prst="lightningBolt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>
              <a:solidFill>
                <a:prstClr val="black"/>
              </a:solidFill>
              <a:latin typeface="Lucida Sans Unicode" pitchFamily="34" charset="0"/>
            </a:endParaRPr>
          </a:p>
        </p:txBody>
      </p:sp>
      <p:sp>
        <p:nvSpPr>
          <p:cNvPr id="36" name="Cloud 35"/>
          <p:cNvSpPr/>
          <p:nvPr/>
        </p:nvSpPr>
        <p:spPr bwMode="auto">
          <a:xfrm>
            <a:off x="468313" y="4652963"/>
            <a:ext cx="1582737" cy="863600"/>
          </a:xfrm>
          <a:prstGeom prst="cloud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buFont typeface="Arial" charset="0"/>
              <a:buNone/>
              <a:defRPr/>
            </a:pPr>
            <a:endParaRPr lang="en-US" dirty="0">
              <a:solidFill>
                <a:prstClr val="black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37" name="5-Point Star 36"/>
          <p:cNvSpPr/>
          <p:nvPr/>
        </p:nvSpPr>
        <p:spPr bwMode="auto">
          <a:xfrm>
            <a:off x="7451725" y="476250"/>
            <a:ext cx="1296988" cy="1296988"/>
          </a:xfrm>
          <a:prstGeom prst="star5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buFont typeface="Arial" charset="0"/>
              <a:buNone/>
              <a:defRPr/>
            </a:pPr>
            <a:endParaRPr lang="en-US" dirty="0">
              <a:solidFill>
                <a:prstClr val="black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4352" name="Smiley Face 37"/>
          <p:cNvSpPr>
            <a:spLocks noChangeArrowheads="1"/>
          </p:cNvSpPr>
          <p:nvPr/>
        </p:nvSpPr>
        <p:spPr bwMode="auto">
          <a:xfrm>
            <a:off x="5435600" y="2349500"/>
            <a:ext cx="936625" cy="792163"/>
          </a:xfrm>
          <a:prstGeom prst="smileyFace">
            <a:avLst>
              <a:gd name="adj" fmla="val 4653"/>
            </a:avLst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>
              <a:solidFill>
                <a:prstClr val="black"/>
              </a:solidFill>
              <a:latin typeface="Lucida Sans Unicode" pitchFamily="34" charset="0"/>
            </a:endParaRPr>
          </a:p>
        </p:txBody>
      </p:sp>
      <p:sp>
        <p:nvSpPr>
          <p:cNvPr id="14353" name="TextBox 38"/>
          <p:cNvSpPr txBox="1">
            <a:spLocks noChangeArrowheads="1"/>
          </p:cNvSpPr>
          <p:nvPr/>
        </p:nvSpPr>
        <p:spPr bwMode="auto">
          <a:xfrm>
            <a:off x="395288" y="5775325"/>
            <a:ext cx="187325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solidFill>
                  <a:prstClr val="black"/>
                </a:solidFill>
              </a:rPr>
              <a:t>Первые 6 месяцев</a:t>
            </a:r>
            <a:endParaRPr lang="en-US" sz="2000">
              <a:solidFill>
                <a:prstClr val="black"/>
              </a:solidFill>
            </a:endParaRPr>
          </a:p>
        </p:txBody>
      </p:sp>
      <p:sp>
        <p:nvSpPr>
          <p:cNvPr id="14354" name="TextBox 39"/>
          <p:cNvSpPr txBox="1">
            <a:spLocks noChangeArrowheads="1"/>
          </p:cNvSpPr>
          <p:nvPr/>
        </p:nvSpPr>
        <p:spPr bwMode="auto">
          <a:xfrm>
            <a:off x="2555875" y="5761038"/>
            <a:ext cx="187166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solidFill>
                  <a:prstClr val="black"/>
                </a:solidFill>
              </a:rPr>
              <a:t>Год 1 – 2</a:t>
            </a:r>
            <a:endParaRPr lang="en-US" sz="2000">
              <a:solidFill>
                <a:prstClr val="black"/>
              </a:solidFill>
            </a:endParaRPr>
          </a:p>
        </p:txBody>
      </p:sp>
      <p:sp>
        <p:nvSpPr>
          <p:cNvPr id="14355" name="TextBox 40"/>
          <p:cNvSpPr txBox="1">
            <a:spLocks noChangeArrowheads="1"/>
          </p:cNvSpPr>
          <p:nvPr/>
        </p:nvSpPr>
        <p:spPr bwMode="auto">
          <a:xfrm>
            <a:off x="4859338" y="5746750"/>
            <a:ext cx="18732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solidFill>
                  <a:prstClr val="black"/>
                </a:solidFill>
              </a:rPr>
              <a:t>Год 3 – 4 </a:t>
            </a:r>
            <a:endParaRPr lang="en-US" sz="2000">
              <a:solidFill>
                <a:prstClr val="black"/>
              </a:solidFill>
            </a:endParaRPr>
          </a:p>
        </p:txBody>
      </p:sp>
      <p:sp>
        <p:nvSpPr>
          <p:cNvPr id="14356" name="TextBox 41"/>
          <p:cNvSpPr txBox="1">
            <a:spLocks noChangeArrowheads="1"/>
          </p:cNvSpPr>
          <p:nvPr/>
        </p:nvSpPr>
        <p:spPr bwMode="auto">
          <a:xfrm>
            <a:off x="7213600" y="5775325"/>
            <a:ext cx="1871663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>
                <a:solidFill>
                  <a:prstClr val="black"/>
                </a:solidFill>
              </a:rPr>
              <a:t>5-й год и дальше</a:t>
            </a:r>
            <a:endParaRPr lang="en-US" sz="2000">
              <a:solidFill>
                <a:prstClr val="black"/>
              </a:solidFill>
            </a:endParaRPr>
          </a:p>
        </p:txBody>
      </p:sp>
      <p:sp>
        <p:nvSpPr>
          <p:cNvPr id="14357" name="Notched Right Arrow 43"/>
          <p:cNvSpPr>
            <a:spLocks noChangeArrowheads="1"/>
          </p:cNvSpPr>
          <p:nvPr/>
        </p:nvSpPr>
        <p:spPr bwMode="auto">
          <a:xfrm rot="19665444" flipV="1">
            <a:off x="533400" y="2481263"/>
            <a:ext cx="7847013" cy="779462"/>
          </a:xfrm>
          <a:prstGeom prst="notchedRightArrow">
            <a:avLst>
              <a:gd name="adj1" fmla="val 50000"/>
              <a:gd name="adj2" fmla="val 49963"/>
            </a:avLst>
          </a:prstGeom>
          <a:solidFill>
            <a:srgbClr val="FFFF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>
              <a:solidFill>
                <a:prstClr val="black"/>
              </a:solidFill>
              <a:latin typeface="Lucida Sans Unicode" pitchFamily="34" charset="0"/>
            </a:endParaRPr>
          </a:p>
        </p:txBody>
      </p:sp>
      <p:sp>
        <p:nvSpPr>
          <p:cNvPr id="14358" name="TextBox 45"/>
          <p:cNvSpPr txBox="1">
            <a:spLocks noChangeArrowheads="1"/>
          </p:cNvSpPr>
          <p:nvPr/>
        </p:nvSpPr>
        <p:spPr bwMode="auto">
          <a:xfrm rot="-2036746">
            <a:off x="3206750" y="2593975"/>
            <a:ext cx="291306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>
                <a:solidFill>
                  <a:prstClr val="black"/>
                </a:solidFill>
              </a:rPr>
              <a:t>Прозводительность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64409" y="792985"/>
            <a:ext cx="4463727" cy="6021288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5882480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>
          <a:xfrm>
            <a:off x="8316913" y="6524625"/>
            <a:ext cx="827087" cy="333375"/>
          </a:xfrm>
        </p:spPr>
        <p:txBody>
          <a:bodyPr/>
          <a:lstStyle/>
          <a:p>
            <a:fld id="{0CC0563F-F218-4D8C-A361-85FDF4D9E0CF}" type="slidenum">
              <a:rPr lang="ru-RU" altLang="ru-RU" smtClean="0">
                <a:solidFill>
                  <a:schemeClr val="tx1"/>
                </a:solidFill>
              </a:rPr>
              <a:pPr/>
              <a:t>5</a:t>
            </a:fld>
            <a:endParaRPr lang="ru-RU" altLang="ru-RU" dirty="0">
              <a:solidFill>
                <a:schemeClr val="tx1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graphicFrame>
        <p:nvGraphicFramePr>
          <p:cNvPr id="5" name="Схема 4"/>
          <p:cNvGraphicFramePr/>
          <p:nvPr>
            <p:extLst/>
          </p:nvPr>
        </p:nvGraphicFramePr>
        <p:xfrm>
          <a:off x="0" y="-99391"/>
          <a:ext cx="9144000" cy="1008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Схема 5"/>
          <p:cNvGraphicFramePr/>
          <p:nvPr>
            <p:extLst/>
          </p:nvPr>
        </p:nvGraphicFramePr>
        <p:xfrm>
          <a:off x="0" y="5968840"/>
          <a:ext cx="9144000" cy="12241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/>
          </p:nvPr>
        </p:nvGraphicFramePr>
        <p:xfrm>
          <a:off x="49213" y="765175"/>
          <a:ext cx="9037638" cy="5547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9853"/>
                <a:gridCol w="3105140"/>
                <a:gridCol w="2008074"/>
                <a:gridCol w="1440342"/>
                <a:gridCol w="1274229"/>
              </a:tblGrid>
              <a:tr h="355013"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Время от запуска</a:t>
                      </a:r>
                      <a:endParaRPr lang="ru-RU" sz="1400" dirty="0">
                        <a:solidFill>
                          <a:schemeClr val="tx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L="91452" marR="914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6 месяцев</a:t>
                      </a:r>
                      <a:endParaRPr lang="ru-RU" dirty="0">
                        <a:solidFill>
                          <a:schemeClr val="tx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L="91452" marR="914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1-2й год</a:t>
                      </a:r>
                      <a:endParaRPr lang="ru-RU" dirty="0">
                        <a:solidFill>
                          <a:schemeClr val="tx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L="91452" marR="914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3-4й год</a:t>
                      </a:r>
                      <a:endParaRPr lang="ru-RU" dirty="0">
                        <a:solidFill>
                          <a:schemeClr val="tx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L="91452" marR="9145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5+ лет</a:t>
                      </a:r>
                      <a:endParaRPr lang="ru-RU" dirty="0">
                        <a:solidFill>
                          <a:schemeClr val="tx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L="91452" marR="91452"/>
                </a:tc>
              </a:tr>
              <a:tr h="6229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>
                          <a:latin typeface="Arial Narrow" pitchFamily="34" charset="0"/>
                          <a:cs typeface="Arial" pitchFamily="34" charset="0"/>
                        </a:rPr>
                        <a:t>Управление программой</a:t>
                      </a:r>
                    </a:p>
                  </a:txBody>
                  <a:tcPr marL="91452" marR="91452"/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Диагностика - </a:t>
                      </a: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&gt; 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Статус программы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Цели и проект программы, Устав программы 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Управляющий  комитет,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Лин-офис (34!)</a:t>
                      </a:r>
                    </a:p>
                  </a:txBody>
                  <a:tcPr marL="91452" marR="91452"/>
                </a:tc>
                <a:tc gridSpan="3"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Регулярная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р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абота УК, МФК, РГ, Проектного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офиса.</a:t>
                      </a:r>
                      <a:endParaRPr lang="ru-RU" sz="1200" kern="1200" dirty="0" smtClean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Аудит ПС, Бережливые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команды, Совещания на площадках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Преобразование менеджеров в лидеров и наставников.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52" marR="91452"/>
                </a:tc>
                <a:tc hMerge="1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52664"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latin typeface="Arial Narrow" pitchFamily="34" charset="0"/>
                          <a:cs typeface="Arial" pitchFamily="34" charset="0"/>
                        </a:rPr>
                        <a:t>Обучение</a:t>
                      </a:r>
                      <a:endParaRPr lang="ru-RU" sz="1500" dirty="0"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L="91452" marR="91452"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100%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в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ысшего руководства, 100% руководителей в пилотном сегменте, 100%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экспертов межфункциональной команды проекта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52" marR="91452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100% руководителей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100% технологов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100% ведущих спец-тов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52" marR="91452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100% персонала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Топ-менеджмент ключ.поставщиков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52" marR="91452"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Команды экспе-ртов у ключ. поставщиков 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52" marR="91452"/>
                </a:tc>
              </a:tr>
              <a:tr h="545357"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latin typeface="Arial Narrow" pitchFamily="34" charset="0"/>
                          <a:cs typeface="Arial" pitchFamily="34" charset="0"/>
                        </a:rPr>
                        <a:t>Проекты </a:t>
                      </a:r>
                      <a:r>
                        <a:rPr lang="ru-RU" sz="1400" dirty="0" smtClean="0">
                          <a:latin typeface="Arial Narrow" pitchFamily="34" charset="0"/>
                          <a:cs typeface="Arial" pitchFamily="34" charset="0"/>
                        </a:rPr>
                        <a:t>эф-фективности</a:t>
                      </a:r>
                      <a:endParaRPr lang="ru-RU" sz="1500" dirty="0"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L="91452" marR="91452"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Картирование потока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СПЦ и серия ШП - в пилотном сегменте и по узким местам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52" marR="91452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Минимум 1 проект – у всех охваченных обучением  (все производствах, в МТС, в офисе.</a:t>
                      </a:r>
                    </a:p>
                  </a:txBody>
                  <a:tcPr marL="91452" marR="91452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Минимум 1 проект – у всех охваченных обучением (в тч ОКБ,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HR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, финансисты, …)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52" marR="91452"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Ежеквартально в каждом подразделении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52" marR="91452"/>
                </a:tc>
              </a:tr>
              <a:tr h="1511549"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latin typeface="Arial Narrow" pitchFamily="34" charset="0"/>
                          <a:cs typeface="Arial" pitchFamily="34" charset="0"/>
                        </a:rPr>
                        <a:t>Вовлечение и охват</a:t>
                      </a:r>
                      <a:endParaRPr lang="ru-RU" sz="1500" dirty="0"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L="91452" marR="91452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Разработка  и запуск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Декларация о ПС, Кодекс корпоративной этики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Программа массовой информационной поддержки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Целевая модель мотивации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Адаптированная многоуровневая учебная  программы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Система предложений</a:t>
                      </a:r>
                    </a:p>
                  </a:txBody>
                  <a:tcPr marL="91452" marR="91452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На всех основных процессах</a:t>
                      </a:r>
                      <a:endParaRPr lang="ru-RU" sz="1200" kern="1200" dirty="0" smtClean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Развертывание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политики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Комплекты карт ПСПЦ текущие-будущие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А3-управление, 5С и система предложений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Реинжиниринг мотивации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Программа пропаганды</a:t>
                      </a:r>
                    </a:p>
                  </a:txBody>
                  <a:tcPr marL="91452" marR="91452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100% подразделений.</a:t>
                      </a:r>
                      <a:endParaRPr lang="ru-RU" sz="1200" kern="1200" dirty="0" smtClean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Запуск программ у ключ. поставщиков 1го уровня</a:t>
                      </a:r>
                    </a:p>
                  </a:txBody>
                  <a:tcPr marL="91452" marR="91452"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100% персонала,</a:t>
                      </a:r>
                    </a:p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100%  ключевых поставщиков 1го уровня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52" marR="91452"/>
                </a:tc>
              </a:tr>
              <a:tr h="1153792">
                <a:tc>
                  <a:txBody>
                    <a:bodyPr/>
                    <a:lstStyle/>
                    <a:p>
                      <a:pPr algn="r"/>
                      <a:r>
                        <a:rPr lang="ru-RU" sz="1600" b="1" i="0" dirty="0" smtClean="0">
                          <a:latin typeface="Arial Narrow" pitchFamily="34" charset="0"/>
                          <a:cs typeface="Arial" pitchFamily="34" charset="0"/>
                        </a:rPr>
                        <a:t>Результаты</a:t>
                      </a:r>
                      <a:endParaRPr lang="ru-RU" sz="1600" b="1" i="0" dirty="0"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 marL="91452" marR="91452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В пилотном сегменте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Развертывание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основ бизнеса и прорывного видения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А3-управление, 5С и система предложений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Менеджмент и ведущие специалисты обучены по РПС</a:t>
                      </a:r>
                      <a:endParaRPr lang="ru-RU" sz="1200" kern="1200" baseline="0" dirty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Измеримое повышение эффективности</a:t>
                      </a:r>
                    </a:p>
                  </a:txBody>
                  <a:tcPr marL="91452" marR="91452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Реализация будущего состояния потоков СПЦ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Окупаемость затрат на программу.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Достижение первичных целевых показателей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100%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стандартизация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52" marR="91452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Многократная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о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купаемость затрат.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Достижение актуализированных целей по росту эффективности</a:t>
                      </a:r>
                    </a:p>
                  </a:txBody>
                  <a:tcPr marL="91452" marR="91452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В топ-10 по уровню производительности труда в мировой аэрокосмической отрасли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52" marR="91452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Управляющая кнопка: в начало 8">
            <a:hlinkClick r:id="rId12" action="ppaction://hlinksldjump" highlightClick="1"/>
          </p:cNvPr>
          <p:cNvSpPr/>
          <p:nvPr/>
        </p:nvSpPr>
        <p:spPr>
          <a:xfrm>
            <a:off x="8891588" y="116632"/>
            <a:ext cx="216916" cy="216024"/>
          </a:xfrm>
          <a:prstGeom prst="actionButtonBeginn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9936491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Box 3"/>
          <p:cNvSpPr txBox="1">
            <a:spLocks noChangeArrowheads="1"/>
          </p:cNvSpPr>
          <p:nvPr/>
        </p:nvSpPr>
        <p:spPr bwMode="auto">
          <a:xfrm>
            <a:off x="1053855" y="149605"/>
            <a:ext cx="6838996" cy="96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ctr">
              <a:lnSpc>
                <a:spcPct val="90000"/>
              </a:lnSpc>
              <a:defRPr sz="3600">
                <a:solidFill>
                  <a:srgbClr val="C00000"/>
                </a:solidFill>
                <a:latin typeface="Candara" panose="020E0502030303020204" pitchFamily="34" charset="0"/>
                <a:ea typeface="Adobe Gothic Std B" panose="020B0800000000000000" pitchFamily="34" charset="-128"/>
                <a:cs typeface="+mj-cs"/>
              </a:defRPr>
            </a:lvl1pPr>
            <a:lvl2pPr>
              <a:lnSpc>
                <a:spcPct val="90000"/>
              </a:lnSpc>
              <a:defRPr sz="4400">
                <a:latin typeface="Calibri Light" pitchFamily="34" charset="0"/>
              </a:defRPr>
            </a:lvl2pPr>
            <a:lvl3pPr>
              <a:lnSpc>
                <a:spcPct val="90000"/>
              </a:lnSpc>
              <a:defRPr sz="4400">
                <a:latin typeface="Calibri Light" pitchFamily="34" charset="0"/>
              </a:defRPr>
            </a:lvl3pPr>
            <a:lvl4pPr>
              <a:lnSpc>
                <a:spcPct val="90000"/>
              </a:lnSpc>
              <a:defRPr sz="4400">
                <a:latin typeface="Calibri Light" pitchFamily="34" charset="0"/>
              </a:defRPr>
            </a:lvl4pPr>
            <a:lvl5pPr>
              <a:lnSpc>
                <a:spcPct val="90000"/>
              </a:lnSpc>
              <a:defRPr sz="4400">
                <a:latin typeface="Calibri Light" pitchFamily="34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latin typeface="Calibri Light" pitchFamily="34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latin typeface="Calibri Light" pitchFamily="34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latin typeface="Calibri Light" pitchFamily="34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latin typeface="Calibri Light" pitchFamily="34" charset="0"/>
              </a:defRPr>
            </a:lvl9pPr>
          </a:lstStyle>
          <a:p>
            <a:r>
              <a:rPr lang="ru-RU" altLang="ru-RU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лючевые условия успеха</a:t>
            </a:r>
            <a:endParaRPr lang="ru-RU" altLang="ru-RU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234483" y="1405792"/>
            <a:ext cx="8633654" cy="878852"/>
            <a:chOff x="234483" y="1405792"/>
            <a:chExt cx="8633654" cy="878852"/>
          </a:xfrm>
        </p:grpSpPr>
        <p:sp>
          <p:nvSpPr>
            <p:cNvPr id="14339" name="TextBox 12"/>
            <p:cNvSpPr txBox="1">
              <a:spLocks noChangeArrowheads="1"/>
            </p:cNvSpPr>
            <p:nvPr/>
          </p:nvSpPr>
          <p:spPr bwMode="auto">
            <a:xfrm>
              <a:off x="1873228" y="1583608"/>
              <a:ext cx="6994909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2857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marL="0" indent="0">
                <a:spcAft>
                  <a:spcPts val="2400"/>
                </a:spcAft>
              </a:pPr>
              <a:r>
                <a:rPr lang="ru-RU" altLang="ru-RU" sz="1400" dirty="0">
                  <a:solidFill>
                    <a:prstClr val="black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Ориентация на </a:t>
              </a:r>
              <a:r>
                <a:rPr lang="ru-RU" altLang="ru-RU" sz="1400" b="1" dirty="0">
                  <a:solidFill>
                    <a:prstClr val="black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разделяемые истинные ценности и цели</a:t>
              </a:r>
              <a:r>
                <a:rPr lang="ru-RU" altLang="ru-RU" sz="1400" dirty="0">
                  <a:solidFill>
                    <a:prstClr val="black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, на основе эффективного развертывания политики</a:t>
              </a:r>
            </a:p>
          </p:txBody>
        </p:sp>
        <p:pic>
          <p:nvPicPr>
            <p:cNvPr id="14342" name="Рисунок 15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483" y="1405792"/>
              <a:ext cx="1638745" cy="878852"/>
            </a:xfrm>
            <a:prstGeom prst="rect">
              <a:avLst/>
            </a:prstGeom>
            <a:noFill/>
            <a:ln w="19050">
              <a:solidFill>
                <a:srgbClr val="C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218367" y="2229471"/>
            <a:ext cx="8649770" cy="1110117"/>
            <a:chOff x="218367" y="2229471"/>
            <a:chExt cx="8649770" cy="1110117"/>
          </a:xfrm>
        </p:grpSpPr>
        <p:pic>
          <p:nvPicPr>
            <p:cNvPr id="14340" name="Рисунок 13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7" b="-7"/>
            <a:stretch/>
          </p:blipFill>
          <p:spPr bwMode="auto">
            <a:xfrm>
              <a:off x="7781944" y="2229471"/>
              <a:ext cx="1086193" cy="1110117"/>
            </a:xfrm>
            <a:prstGeom prst="rect">
              <a:avLst/>
            </a:prstGeom>
            <a:noFill/>
            <a:ln w="19050">
              <a:solidFill>
                <a:srgbClr val="C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345" name="TextBox 20"/>
            <p:cNvSpPr txBox="1">
              <a:spLocks noChangeArrowheads="1"/>
            </p:cNvSpPr>
            <p:nvPr/>
          </p:nvSpPr>
          <p:spPr bwMode="auto">
            <a:xfrm>
              <a:off x="218367" y="2415197"/>
              <a:ext cx="7548710" cy="738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spcAft>
                  <a:spcPts val="2400"/>
                </a:spcAft>
              </a:pPr>
              <a:r>
                <a:rPr lang="ru-RU" altLang="ru-RU" sz="1400" b="1" dirty="0">
                  <a:solidFill>
                    <a:prstClr val="black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Вовлечение каждого участника Программы </a:t>
              </a:r>
              <a:r>
                <a:rPr lang="ru-RU" altLang="ru-RU" sz="1400" dirty="0">
                  <a:solidFill>
                    <a:prstClr val="black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в систему непрерывного совершенствования через уважение к людям, обучение действием и ежедневные улучшения на рабочих местах</a:t>
              </a: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234551" y="4064675"/>
            <a:ext cx="8658623" cy="839691"/>
            <a:chOff x="234551" y="4064675"/>
            <a:chExt cx="8658623" cy="839691"/>
          </a:xfrm>
        </p:grpSpPr>
        <p:pic>
          <p:nvPicPr>
            <p:cNvPr id="14341" name="Рисунок 14"/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2454" b="100000" l="1160" r="98376">
                          <a14:foregroundMark x1="34107" y1="30061" x2="32251" y2="27607"/>
                          <a14:foregroundMark x1="34571" y1="83436" x2="35499" y2="83436"/>
                          <a14:foregroundMark x1="47796" y1="30061" x2="45012" y2="57055"/>
                          <a14:foregroundMark x1="64965" y1="24540" x2="64501" y2="53988"/>
                          <a14:foregroundMark x1="14849" y1="52147" x2="7889" y2="64417"/>
                          <a14:foregroundMark x1="59861" y1="16564" x2="60789" y2="17791"/>
                          <a14:foregroundMark x1="61485" y1="18405" x2="63341" y2="19632"/>
                          <a14:foregroundMark x1="58237" y1="15337" x2="59165" y2="15337"/>
                          <a14:foregroundMark x1="68445" y1="25153" x2="74478" y2="31288"/>
                          <a14:foregroundMark x1="57541" y1="14110" x2="58005" y2="14724"/>
                          <a14:backgroundMark x1="68910" y1="28221" x2="69606" y2="30061"/>
                          <a14:backgroundMark x1="12297" y1="64417" x2="11833" y2="63804"/>
                          <a14:backgroundMark x1="63573" y1="19018" x2="63109" y2="15951"/>
                          <a14:backgroundMark x1="67749" y1="25767" x2="68213" y2="2699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236295" y="4064675"/>
              <a:ext cx="1656879" cy="839691"/>
            </a:xfrm>
            <a:prstGeom prst="rect">
              <a:avLst/>
            </a:prstGeom>
            <a:noFill/>
            <a:ln w="19050">
              <a:solidFill>
                <a:srgbClr val="C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347" name="TextBox 23"/>
            <p:cNvSpPr txBox="1">
              <a:spLocks noChangeArrowheads="1"/>
            </p:cNvSpPr>
            <p:nvPr/>
          </p:nvSpPr>
          <p:spPr bwMode="auto">
            <a:xfrm>
              <a:off x="234551" y="4222911"/>
              <a:ext cx="7001744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spcAft>
                  <a:spcPts val="2400"/>
                </a:spcAft>
              </a:pPr>
              <a:r>
                <a:rPr lang="ru-RU" altLang="ru-RU" sz="1400" b="1" dirty="0">
                  <a:solidFill>
                    <a:prstClr val="black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Развитие людей</a:t>
              </a:r>
              <a:r>
                <a:rPr lang="ru-RU" altLang="ru-RU" sz="1400" dirty="0">
                  <a:solidFill>
                    <a:prstClr val="black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 через развитие процессов  в составе проектов, сфокусированных на решение актуальных задач</a:t>
              </a: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245663" y="4873138"/>
            <a:ext cx="8639553" cy="867799"/>
            <a:chOff x="245663" y="4873138"/>
            <a:chExt cx="8639553" cy="867799"/>
          </a:xfrm>
        </p:grpSpPr>
        <p:pic>
          <p:nvPicPr>
            <p:cNvPr id="14344" name="Рисунок 16"/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45663" y="4873138"/>
              <a:ext cx="1511300" cy="867799"/>
            </a:xfrm>
            <a:prstGeom prst="rect">
              <a:avLst/>
            </a:prstGeom>
            <a:noFill/>
            <a:ln w="19050">
              <a:solidFill>
                <a:srgbClr val="C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348" name="TextBox 24"/>
            <p:cNvSpPr txBox="1">
              <a:spLocks noChangeArrowheads="1"/>
            </p:cNvSpPr>
            <p:nvPr/>
          </p:nvSpPr>
          <p:spPr bwMode="auto">
            <a:xfrm>
              <a:off x="1756964" y="5045428"/>
              <a:ext cx="7128252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spcAft>
                  <a:spcPts val="2400"/>
                </a:spcAft>
              </a:pPr>
              <a:r>
                <a:rPr lang="ru-RU" altLang="ru-RU" sz="1400" b="1" dirty="0">
                  <a:solidFill>
                    <a:prstClr val="black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Эффективные двусторонние коммуникации</a:t>
              </a:r>
              <a:r>
                <a:rPr lang="ru-RU" altLang="ru-RU" sz="1400" dirty="0">
                  <a:solidFill>
                    <a:prstClr val="black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 на основе системы пропаганды и мониторинга хода реализации Программы</a:t>
              </a: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245661" y="5716024"/>
            <a:ext cx="8647704" cy="862913"/>
            <a:chOff x="245661" y="5716024"/>
            <a:chExt cx="8647704" cy="862913"/>
          </a:xfrm>
        </p:grpSpPr>
        <p:pic>
          <p:nvPicPr>
            <p:cNvPr id="14343" name="Picture 2" descr="D:\ОРГПРОМ\3_РАЗДАТКА, презентации,флаеры\Картинки, обложка\Рост.jp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7077" y="5716024"/>
              <a:ext cx="1126288" cy="862913"/>
            </a:xfrm>
            <a:prstGeom prst="rect">
              <a:avLst/>
            </a:prstGeom>
            <a:noFill/>
            <a:ln w="19050">
              <a:solidFill>
                <a:srgbClr val="C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349" name="TextBox 25"/>
            <p:cNvSpPr txBox="1">
              <a:spLocks noChangeArrowheads="1"/>
            </p:cNvSpPr>
            <p:nvPr/>
          </p:nvSpPr>
          <p:spPr bwMode="auto">
            <a:xfrm>
              <a:off x="245661" y="5885870"/>
              <a:ext cx="7521415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spcAft>
                  <a:spcPts val="2400"/>
                </a:spcAft>
              </a:pPr>
              <a:r>
                <a:rPr lang="ru-RU" altLang="ru-RU" sz="1400" b="1" dirty="0">
                  <a:solidFill>
                    <a:prstClr val="black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Формирование нового уровня трудовой и управленческой культуры</a:t>
              </a:r>
              <a:r>
                <a:rPr lang="ru-RU" altLang="ru-RU" sz="1400" dirty="0">
                  <a:solidFill>
                    <a:prstClr val="black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 на основе последовательной реализации вышеуказанных принципов</a:t>
              </a: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245663" y="3241865"/>
            <a:ext cx="8639553" cy="899335"/>
            <a:chOff x="245663" y="3241865"/>
            <a:chExt cx="8639553" cy="899335"/>
          </a:xfrm>
        </p:grpSpPr>
        <p:sp>
          <p:nvSpPr>
            <p:cNvPr id="14346" name="TextBox 22"/>
            <p:cNvSpPr txBox="1">
              <a:spLocks noChangeArrowheads="1"/>
            </p:cNvSpPr>
            <p:nvPr/>
          </p:nvSpPr>
          <p:spPr bwMode="auto">
            <a:xfrm>
              <a:off x="1528546" y="3322201"/>
              <a:ext cx="7356670" cy="738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spcAft>
                  <a:spcPts val="2400"/>
                </a:spcAft>
              </a:pPr>
              <a:r>
                <a:rPr lang="ru-RU" altLang="ru-RU" sz="1400" b="1" dirty="0">
                  <a:solidFill>
                    <a:prstClr val="black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Лидерство</a:t>
              </a:r>
              <a:r>
                <a:rPr lang="ru-RU" altLang="ru-RU" sz="1400" dirty="0">
                  <a:solidFill>
                    <a:prstClr val="black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 руководителей и </a:t>
              </a:r>
              <a:r>
                <a:rPr lang="ru-RU" altLang="ru-RU" sz="1400" b="1" dirty="0">
                  <a:solidFill>
                    <a:prstClr val="black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командная работа </a:t>
              </a:r>
              <a:r>
                <a:rPr lang="ru-RU" altLang="ru-RU" sz="1400" dirty="0" err="1">
                  <a:solidFill>
                    <a:prstClr val="black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межфункциональных</a:t>
              </a:r>
              <a:r>
                <a:rPr lang="ru-RU" altLang="ru-RU" sz="1400" dirty="0">
                  <a:solidFill>
                    <a:prstClr val="black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 команд экспертов и линейного персонала  с единой целью - повышение эффективности бизнес процессов</a:t>
              </a:r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45663" y="3241865"/>
              <a:ext cx="1282882" cy="899335"/>
            </a:xfrm>
            <a:prstGeom prst="rect">
              <a:avLst/>
            </a:prstGeom>
            <a:noFill/>
            <a:ln w="19050">
              <a:solidFill>
                <a:srgbClr val="C00000"/>
              </a:solidFill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58704030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05556E-6 -1.48148E-6 L 0.00226 0.89167 " pathEditMode="relative" rAng="0" ptsTypes="AA">
                                      <p:cBhvr>
                                        <p:cTn id="8" dur="120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4" y="4458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20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1.48148E-6 L 0.00312 0.75486 " pathEditMode="relative" rAng="0" ptsTypes="AA">
                                      <p:cBhvr>
                                        <p:cTn id="13" dur="12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6" y="377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4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69 0.00371 L 0.00138 0.62639 " pathEditMode="relative" rAng="0" ptsTypes="AA">
                                      <p:cBhvr>
                                        <p:cTn id="18" dur="13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" y="3113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7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1.01758E-6 L 0.00087 0.5074 " pathEditMode="relative" rAng="0" ptsTypes="AA">
                                      <p:cBhvr>
                                        <p:cTn id="23" dur="13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" y="253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26549E-6 L 0.00069 0.38737 " pathEditMode="relative" rAng="0" ptsTypes="AA">
                                      <p:cBhvr>
                                        <p:cTn id="28" dur="12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" y="1935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6200"/>
                            </p:stCondLst>
                            <p:childTnLst>
                              <p:par>
                                <p:cTn id="3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33" dur="12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22133" y="409376"/>
            <a:ext cx="7614084" cy="400050"/>
          </a:xfrm>
        </p:spPr>
        <p:txBody>
          <a:bodyPr/>
          <a:lstStyle/>
          <a:p>
            <a:pPr algn="ctr"/>
            <a:r>
              <a:rPr lang="ru-RU" altLang="ru-RU" sz="3300" dirty="0"/>
              <a:t>Эффективные решения в </a:t>
            </a:r>
            <a:r>
              <a:rPr lang="ru-RU" altLang="ru-RU" sz="3300" dirty="0" smtClean="0"/>
              <a:t>ОПК</a:t>
            </a:r>
            <a:endParaRPr lang="ru-RU" altLang="ru-RU" sz="3300" dirty="0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-10835" y="6525344"/>
            <a:ext cx="1377779" cy="228600"/>
          </a:xfrm>
        </p:spPr>
        <p:txBody>
          <a:bodyPr/>
          <a:lstStyle/>
          <a:p>
            <a:r>
              <a:rPr lang="ru-RU" altLang="ru-RU" dirty="0" smtClean="0"/>
              <a:t>2013 - 2014</a:t>
            </a:r>
            <a:endParaRPr lang="en-US" alt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108795" y="3519082"/>
            <a:ext cx="684076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200" b="1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Реализация программы: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200" b="1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«Повышение объема выпуска </a:t>
            </a:r>
            <a:r>
              <a:rPr lang="ru-RU" sz="2200" b="1" dirty="0" err="1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авионики</a:t>
            </a:r>
            <a:r>
              <a:rPr lang="ru-RU" sz="22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по всей номенклатуре изделий»</a:t>
            </a:r>
            <a:endParaRPr lang="ru-RU" sz="22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827282" y="6137920"/>
            <a:ext cx="5316718" cy="720080"/>
          </a:xfrm>
          <a:prstGeom prst="rect">
            <a:avLst/>
          </a:prstGeom>
          <a:gradFill>
            <a:gsLst>
              <a:gs pos="0">
                <a:sysClr val="window" lastClr="FFFFFF">
                  <a:alpha val="71000"/>
                </a:sysClr>
              </a:gs>
              <a:gs pos="61000">
                <a:sysClr val="window" lastClr="FFFFFF">
                  <a:alpha val="40000"/>
                </a:sysClr>
              </a:gs>
              <a:gs pos="95000">
                <a:sysClr val="window" lastClr="FFFFFF">
                  <a:alpha val="0"/>
                </a:sysClr>
              </a:gs>
            </a:gsLst>
            <a:lin ang="7800000" scaled="0"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kern="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kern="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Приборостроение</a:t>
            </a:r>
            <a:endParaRPr lang="ru-RU" sz="1600" b="1" kern="0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6797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>Причина инициации проекта</a:t>
            </a:r>
            <a:endParaRPr lang="ru-RU" sz="2800" dirty="0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187624" y="1844824"/>
            <a:ext cx="6912768" cy="3960440"/>
          </a:xfrm>
          <a:prstGeom prst="roundRect">
            <a:avLst/>
          </a:prstGeom>
          <a:solidFill>
            <a:sysClr val="window" lastClr="FFFFFF">
              <a:alpha val="60000"/>
            </a:sysClr>
          </a:solidFill>
          <a:ln w="28575" cap="flat" cmpd="sng" algn="ctr">
            <a:noFill/>
            <a:prstDash val="solid"/>
          </a:ln>
          <a:effectLst/>
        </p:spPr>
        <p:txBody>
          <a:bodyPr lIns="180000" r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Проблемы предприятия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kern="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kern="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Резкое повышение количества заказов продукции различных модификаций и вариантов исполнения, связанных как с глобальным перевооружением армии, так с множественными разработками техники ближайшего будущего, планируемой к выпуску в серийном масштабе.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kern="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Существенное увеличение планов при полной загрузке мощностей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kern="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Недостаток квалифицированных рабочих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kern="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Повышение затрат при мелкосерийном производстве</a:t>
            </a:r>
            <a:endParaRPr lang="ru-RU" kern="0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kern="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Сложность комплектации производства агрегатами и деталями в комплекте, покупными изделиям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700" b="1" kern="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184" y="6190018"/>
            <a:ext cx="1728544" cy="521975"/>
          </a:xfrm>
          <a:prstGeom prst="rect">
            <a:avLst/>
          </a:prstGeom>
        </p:spPr>
      </p:pic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C78C5E-6FB5-4568-AE58-C32DC4E15573}" type="slidenum">
              <a:rPr lang="en-US" altLang="ru-RU" smtClean="0">
                <a:solidFill>
                  <a:srgbClr val="000000"/>
                </a:solidFill>
              </a:rPr>
              <a:pPr/>
              <a:t>8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222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>Цели проекта</a:t>
            </a:r>
            <a:endParaRPr lang="ru-RU" sz="2800" dirty="0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187624" y="1844824"/>
            <a:ext cx="6912768" cy="3960440"/>
          </a:xfrm>
          <a:prstGeom prst="roundRect">
            <a:avLst/>
          </a:prstGeom>
          <a:solidFill>
            <a:sysClr val="window" lastClr="FFFFFF">
              <a:alpha val="60000"/>
            </a:sysClr>
          </a:solidFill>
          <a:ln w="28575" cap="flat" cmpd="sng" algn="ctr">
            <a:noFill/>
            <a:prstDash val="solid"/>
          </a:ln>
          <a:effectLst/>
        </p:spPr>
        <p:txBody>
          <a:bodyPr lIns="180000" r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700" b="1" kern="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kern="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Основные задачи проекта, поставленные заказчиком:</a:t>
            </a:r>
            <a:endParaRPr lang="ru-RU" sz="600" kern="0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600" kern="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Повышение пропускной способности производства на 70% по всей номенклатуре выпускаемых изделий Механического производства.</a:t>
            </a:r>
            <a:endParaRPr lang="ru-RU" sz="1600" kern="0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600" kern="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Достижение уровня качества ГКО (готовность к отгрузке с первого предъявления) выпускаемой продукции 98%, с текущих 93% по деталям Механического производства.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600" kern="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Создание системы производства, направленной в первую очередь на реализацию концепции поставщик-заказчик.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600" kern="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Создание почвы для развития дальнейшей работы по ПС во всех остальных структурных подразделениях.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600" kern="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Всеобщее обучение персонала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184" y="6190018"/>
            <a:ext cx="1728544" cy="521975"/>
          </a:xfrm>
          <a:prstGeom prst="rect">
            <a:avLst/>
          </a:prstGeom>
        </p:spPr>
      </p:pic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C78C5E-6FB5-4568-AE58-C32DC4E15573}" type="slidenum">
              <a:rPr lang="en-US" altLang="ru-RU" smtClean="0">
                <a:solidFill>
                  <a:srgbClr val="000000"/>
                </a:solidFill>
              </a:rPr>
              <a:pPr/>
              <a:t>9</a:t>
            </a:fld>
            <a:endParaRPr lang="en-US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591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VFuQklYU6jnjpaVqFxe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g618cWFECSF6cnn5zY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PYyjsmc0itbQeHKGzl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4iMNB09U.TGbgcFNlq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5uGIc4X0qPDyIMx5px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taFQm.VEKmQl.VsU.Y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njPeJsEKmV_RHvUDL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8EvyPvlE.STbKNiSrC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vD__Eu7EC5ywIiMMbT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njj_vKkuOVabJ9UF9qg"/>
</p:tagLst>
</file>

<file path=ppt/theme/theme1.xml><?xml version="1.0" encoding="utf-8"?>
<a:theme xmlns:a="http://schemas.openxmlformats.org/drawingml/2006/main" name="Новая маска презентаций ОРГПРОМа основная">
  <a:themeElements>
    <a:clrScheme name="1_Мой шаблон 1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Мой шаблон 1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Мой шаблон 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Мой шаблон 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Мой шаблон 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Мой шаблон 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Мой шаблон 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Мой шаблон 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Мой шаблон 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Мой шаблон 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Мой шаблон 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Мой шаблон 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Мой шаблон 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Мой шаблон 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Мой шаблон 1">
  <a:themeElements>
    <a:clrScheme name="2_Мой шаблон 1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Мой шаблон 1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Мой шаблон 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Мой шаблон 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Мой шаблон 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Мой шаблон 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Мой шаблон 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Мой шаблон 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Мой шаблон 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Мой шаблон 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Мой шаблон 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Мой шаблон 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Мой шаблон 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Мой шаблон 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Franklin Gothic Heavy"/>
        <a:ea typeface=""/>
        <a:cs typeface=""/>
      </a:majorFont>
      <a:minorFont>
        <a:latin typeface="Eras Demi ITC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C8D4E2"/>
      </a:lt1>
      <a:dk2>
        <a:srgbClr val="015465"/>
      </a:dk2>
      <a:lt2>
        <a:srgbClr val="808080"/>
      </a:lt2>
      <a:accent1>
        <a:srgbClr val="B96F81"/>
      </a:accent1>
      <a:accent2>
        <a:srgbClr val="84B75D"/>
      </a:accent2>
      <a:accent3>
        <a:srgbClr val="E0E6EE"/>
      </a:accent3>
      <a:accent4>
        <a:srgbClr val="000000"/>
      </a:accent4>
      <a:accent5>
        <a:srgbClr val="D9BBC1"/>
      </a:accent5>
      <a:accent6>
        <a:srgbClr val="77A653"/>
      </a:accent6>
      <a:hlink>
        <a:srgbClr val="B88A68"/>
      </a:hlink>
      <a:folHlink>
        <a:srgbClr val="91A7C1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C8D4E2"/>
        </a:lt1>
        <a:dk2>
          <a:srgbClr val="015465"/>
        </a:dk2>
        <a:lt2>
          <a:srgbClr val="808080"/>
        </a:lt2>
        <a:accent1>
          <a:srgbClr val="B96F81"/>
        </a:accent1>
        <a:accent2>
          <a:srgbClr val="84B75D"/>
        </a:accent2>
        <a:accent3>
          <a:srgbClr val="E0E6EE"/>
        </a:accent3>
        <a:accent4>
          <a:srgbClr val="000000"/>
        </a:accent4>
        <a:accent5>
          <a:srgbClr val="D9BBC1"/>
        </a:accent5>
        <a:accent6>
          <a:srgbClr val="77A653"/>
        </a:accent6>
        <a:hlink>
          <a:srgbClr val="B88A68"/>
        </a:hlink>
        <a:folHlink>
          <a:srgbClr val="91A7C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CCE1C9"/>
        </a:lt1>
        <a:dk2>
          <a:srgbClr val="660066"/>
        </a:dk2>
        <a:lt2>
          <a:srgbClr val="808080"/>
        </a:lt2>
        <a:accent1>
          <a:srgbClr val="8F7AC4"/>
        </a:accent1>
        <a:accent2>
          <a:srgbClr val="D79E5F"/>
        </a:accent2>
        <a:accent3>
          <a:srgbClr val="E2EEE1"/>
        </a:accent3>
        <a:accent4>
          <a:srgbClr val="000000"/>
        </a:accent4>
        <a:accent5>
          <a:srgbClr val="C6BEDE"/>
        </a:accent5>
        <a:accent6>
          <a:srgbClr val="C38F55"/>
        </a:accent6>
        <a:hlink>
          <a:srgbClr val="6494BC"/>
        </a:hlink>
        <a:folHlink>
          <a:srgbClr val="A6BD9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E3D9D3"/>
        </a:lt1>
        <a:dk2>
          <a:srgbClr val="A50021"/>
        </a:dk2>
        <a:lt2>
          <a:srgbClr val="808080"/>
        </a:lt2>
        <a:accent1>
          <a:srgbClr val="5E87CA"/>
        </a:accent1>
        <a:accent2>
          <a:srgbClr val="B75D86"/>
        </a:accent2>
        <a:accent3>
          <a:srgbClr val="EFE9E6"/>
        </a:accent3>
        <a:accent4>
          <a:srgbClr val="000000"/>
        </a:accent4>
        <a:accent5>
          <a:srgbClr val="B6C3E1"/>
        </a:accent5>
        <a:accent6>
          <a:srgbClr val="A65379"/>
        </a:accent6>
        <a:hlink>
          <a:srgbClr val="5DB648"/>
        </a:hlink>
        <a:folHlink>
          <a:srgbClr val="C2A29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Новая маска презентаций ОРГПРОМа основная</Template>
  <TotalTime>2561</TotalTime>
  <Words>1303</Words>
  <Application>Microsoft Office PowerPoint</Application>
  <PresentationFormat>Экран (4:3)</PresentationFormat>
  <Paragraphs>259</Paragraphs>
  <Slides>18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6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39" baseType="lpstr">
      <vt:lpstr>ＭＳ Ｐゴシック</vt:lpstr>
      <vt:lpstr>Adobe Gothic Std B</vt:lpstr>
      <vt:lpstr>Arial</vt:lpstr>
      <vt:lpstr>Arial Black</vt:lpstr>
      <vt:lpstr>Arial Narrow</vt:lpstr>
      <vt:lpstr>Calibri</vt:lpstr>
      <vt:lpstr>Comic Sans MS</vt:lpstr>
      <vt:lpstr>Eras Bold ITC</vt:lpstr>
      <vt:lpstr>Eras Demi ITC</vt:lpstr>
      <vt:lpstr>Franklin Gothic Heavy</vt:lpstr>
      <vt:lpstr>Lucida Sans Unicode</vt:lpstr>
      <vt:lpstr>Segoe UI Black</vt:lpstr>
      <vt:lpstr>Tahoma</vt:lpstr>
      <vt:lpstr>Times New Roman</vt:lpstr>
      <vt:lpstr>Verdana</vt:lpstr>
      <vt:lpstr>Wingdings</vt:lpstr>
      <vt:lpstr>Новая маска презентаций ОРГПРОМа основная</vt:lpstr>
      <vt:lpstr>2_Мой шаблон 1</vt:lpstr>
      <vt:lpstr>1_Default Design</vt:lpstr>
      <vt:lpstr>Default Design</vt:lpstr>
      <vt:lpstr>Visio</vt:lpstr>
      <vt:lpstr>Презентация PowerPoint</vt:lpstr>
      <vt:lpstr>ПРОИЗВОДСТВЕННАЯ СИСТЕМА</vt:lpstr>
      <vt:lpstr>Общая схема реализации Программы РПС</vt:lpstr>
      <vt:lpstr>Презентация PowerPoint</vt:lpstr>
      <vt:lpstr>Презентация PowerPoint</vt:lpstr>
      <vt:lpstr>Презентация PowerPoint</vt:lpstr>
      <vt:lpstr>Эффективные решения в ОПК</vt:lpstr>
      <vt:lpstr>Причина инициации проекта</vt:lpstr>
      <vt:lpstr>Цели проекта</vt:lpstr>
      <vt:lpstr>Дорожная карта проекта</vt:lpstr>
      <vt:lpstr>Учебный курс</vt:lpstr>
      <vt:lpstr>Программа РПС</vt:lpstr>
      <vt:lpstr>Применяемые методики</vt:lpstr>
      <vt:lpstr>Механическое производство</vt:lpstr>
      <vt:lpstr>Отдел Микротехнологий</vt:lpstr>
      <vt:lpstr>Сборочное производство</vt:lpstr>
      <vt:lpstr>Внутренняя логистика</vt:lpstr>
      <vt:lpstr>Презентация PowerPoint</vt:lpstr>
    </vt:vector>
  </TitlesOfParts>
  <Company>Hom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samsung</dc:creator>
  <cp:lastModifiedBy>ksn</cp:lastModifiedBy>
  <cp:revision>169</cp:revision>
  <cp:lastPrinted>1601-01-01T00:00:00Z</cp:lastPrinted>
  <dcterms:created xsi:type="dcterms:W3CDTF">2010-09-24T14:33:10Z</dcterms:created>
  <dcterms:modified xsi:type="dcterms:W3CDTF">2016-04-20T07:09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